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charts/chart9.xml" ContentType="application/vnd.openxmlformats-officedocument.drawingml.chart+xml"/>
  <Override PartName="/ppt/theme/themeOverride7.xml" ContentType="application/vnd.openxmlformats-officedocument.themeOverride+xml"/>
  <Override PartName="/ppt/charts/chart10.xml" ContentType="application/vnd.openxmlformats-officedocument.drawingml.chart+xml"/>
  <Override PartName="/ppt/theme/themeOverride8.xml" ContentType="application/vnd.openxmlformats-officedocument.themeOverride+xml"/>
  <Override PartName="/ppt/charts/chart11.xml" ContentType="application/vnd.openxmlformats-officedocument.drawingml.chart+xml"/>
  <Override PartName="/ppt/theme/themeOverride9.xml" ContentType="application/vnd.openxmlformats-officedocument.themeOverride+xml"/>
  <Override PartName="/ppt/charts/chart12.xml" ContentType="application/vnd.openxmlformats-officedocument.drawingml.chart+xml"/>
  <Override PartName="/ppt/theme/themeOverride10.xml" ContentType="application/vnd.openxmlformats-officedocument.themeOverride+xml"/>
  <Override PartName="/ppt/charts/chart13.xml" ContentType="application/vnd.openxmlformats-officedocument.drawingml.chart+xml"/>
  <Override PartName="/ppt/theme/themeOverride11.xml" ContentType="application/vnd.openxmlformats-officedocument.themeOverride+xml"/>
  <Override PartName="/ppt/charts/chart14.xml" ContentType="application/vnd.openxmlformats-officedocument.drawingml.chart+xml"/>
  <Override PartName="/ppt/theme/themeOverride12.xml" ContentType="application/vnd.openxmlformats-officedocument.themeOverride+xml"/>
  <Override PartName="/ppt/charts/chart15.xml" ContentType="application/vnd.openxmlformats-officedocument.drawingml.chart+xml"/>
  <Override PartName="/ppt/theme/themeOverride13.xml" ContentType="application/vnd.openxmlformats-officedocument.themeOverride+xml"/>
  <Override PartName="/ppt/charts/chart16.xml" ContentType="application/vnd.openxmlformats-officedocument.drawingml.chart+xml"/>
  <Override PartName="/ppt/theme/themeOverride14.xml" ContentType="application/vnd.openxmlformats-officedocument.themeOverride+xml"/>
  <Override PartName="/ppt/charts/chart17.xml" ContentType="application/vnd.openxmlformats-officedocument.drawingml.chart+xml"/>
  <Override PartName="/ppt/theme/themeOverride15.xml" ContentType="application/vnd.openxmlformats-officedocument.themeOverride+xml"/>
  <Override PartName="/ppt/charts/chart18.xml" ContentType="application/vnd.openxmlformats-officedocument.drawingml.chart+xml"/>
  <Override PartName="/ppt/theme/themeOverride16.xml" ContentType="application/vnd.openxmlformats-officedocument.themeOverride+xml"/>
  <Override PartName="/ppt/charts/chart19.xml" ContentType="application/vnd.openxmlformats-officedocument.drawingml.chart+xml"/>
  <Override PartName="/ppt/theme/themeOverride17.xml" ContentType="application/vnd.openxmlformats-officedocument.themeOverride+xml"/>
  <Override PartName="/ppt/charts/chart20.xml" ContentType="application/vnd.openxmlformats-officedocument.drawingml.chart+xml"/>
  <Override PartName="/ppt/theme/themeOverride18.xml" ContentType="application/vnd.openxmlformats-officedocument.themeOverride+xml"/>
  <Override PartName="/ppt/charts/chart21.xml" ContentType="application/vnd.openxmlformats-officedocument.drawingml.chart+xml"/>
  <Override PartName="/ppt/theme/themeOverride19.xml" ContentType="application/vnd.openxmlformats-officedocument.themeOverride+xml"/>
  <Override PartName="/ppt/charts/chart22.xml" ContentType="application/vnd.openxmlformats-officedocument.drawingml.chart+xml"/>
  <Override PartName="/ppt/theme/themeOverride20.xml" ContentType="application/vnd.openxmlformats-officedocument.themeOverride+xml"/>
  <Override PartName="/ppt/charts/chart23.xml" ContentType="application/vnd.openxmlformats-officedocument.drawingml.chart+xml"/>
  <Override PartName="/ppt/theme/themeOverride2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0" r:id="rId5"/>
  </p:sldMasterIdLst>
  <p:notesMasterIdLst>
    <p:notesMasterId r:id="rId37"/>
  </p:notesMasterIdLst>
  <p:handoutMasterIdLst>
    <p:handoutMasterId r:id="rId38"/>
  </p:handoutMasterIdLst>
  <p:sldIdLst>
    <p:sldId id="256" r:id="rId6"/>
    <p:sldId id="265" r:id="rId7"/>
    <p:sldId id="260" r:id="rId8"/>
    <p:sldId id="284" r:id="rId9"/>
    <p:sldId id="287" r:id="rId10"/>
    <p:sldId id="288" r:id="rId11"/>
    <p:sldId id="262" r:id="rId12"/>
    <p:sldId id="285" r:id="rId13"/>
    <p:sldId id="286" r:id="rId14"/>
    <p:sldId id="272" r:id="rId15"/>
    <p:sldId id="266" r:id="rId16"/>
    <p:sldId id="273" r:id="rId17"/>
    <p:sldId id="274" r:id="rId18"/>
    <p:sldId id="267" r:id="rId19"/>
    <p:sldId id="275" r:id="rId20"/>
    <p:sldId id="276" r:id="rId21"/>
    <p:sldId id="268" r:id="rId22"/>
    <p:sldId id="277" r:id="rId23"/>
    <p:sldId id="269" r:id="rId24"/>
    <p:sldId id="278" r:id="rId25"/>
    <p:sldId id="270" r:id="rId26"/>
    <p:sldId id="279" r:id="rId27"/>
    <p:sldId id="271" r:id="rId28"/>
    <p:sldId id="282" r:id="rId29"/>
    <p:sldId id="283" r:id="rId30"/>
    <p:sldId id="280" r:id="rId31"/>
    <p:sldId id="257" r:id="rId32"/>
    <p:sldId id="258" r:id="rId33"/>
    <p:sldId id="261" r:id="rId34"/>
    <p:sldId id="263" r:id="rId35"/>
    <p:sldId id="259" r:id="rId36"/>
  </p:sldIdLst>
  <p:sldSz cx="9144000" cy="6858000" type="screen4x3"/>
  <p:notesSz cx="6669088" cy="9926638"/>
  <p:defaultTextStyle>
    <a:defPPr>
      <a:defRPr lang="hu-H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9765"/>
    <a:srgbClr val="A29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34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2064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demko.oliver\Documents\2017\MINISTER%20PR\&#201;VES%20MUNKAER&#336;PIACI%20ADATOK_2010-2016.xlsx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8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9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0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1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2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3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4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5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6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demko.oliver\Documents\2017\EL&#336;AD&#193;SOK\Iskolai%20v&#233;gzetts&#233;g%20szerinti%20r&#225;t&#225;k_2017.xls" TargetMode="External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8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19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20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2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E:\K&#252;l&#246;n%20f&#243;rum\2017%20j&#250;nius\Munka&#252;gy.xlsx" TargetMode="External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ADATOK!$C$2</c:f>
              <c:strCache>
                <c:ptCount val="1"/>
                <c:pt idx="0">
                  <c:v>FOGLALKOZTATOTTAK SZÁMA, EZER FŐ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ADATOK!$A$3:$A$10</c:f>
              <c:strCach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 jún-aug</c:v>
                </c:pt>
              </c:strCache>
            </c:strRef>
          </c:cat>
          <c:val>
            <c:numRef>
              <c:f>ADATOK!$C$3:$C$10</c:f>
              <c:numCache>
                <c:formatCode>0.0</c:formatCode>
                <c:ptCount val="8"/>
                <c:pt idx="0">
                  <c:v>3732.3836666666666</c:v>
                </c:pt>
                <c:pt idx="1">
                  <c:v>3759.0183333333334</c:v>
                </c:pt>
                <c:pt idx="2">
                  <c:v>3827.2138333333332</c:v>
                </c:pt>
                <c:pt idx="3">
                  <c:v>3892.7608333333333</c:v>
                </c:pt>
                <c:pt idx="4">
                  <c:v>4100.8387499999999</c:v>
                </c:pt>
                <c:pt idx="5">
                  <c:v>4210.4964166666668</c:v>
                </c:pt>
                <c:pt idx="6">
                  <c:v>4351.6540000000005</c:v>
                </c:pt>
                <c:pt idx="7">
                  <c:v>4444.3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4214400"/>
        <c:axId val="74216192"/>
      </c:barChart>
      <c:lineChart>
        <c:grouping val="standard"/>
        <c:varyColors val="0"/>
        <c:ser>
          <c:idx val="0"/>
          <c:order val="0"/>
          <c:tx>
            <c:strRef>
              <c:f>ADATOK!$B$2</c:f>
              <c:strCache>
                <c:ptCount val="1"/>
                <c:pt idx="0">
                  <c:v>MUNKANÉLKÜLISÉGI RÁTA, %</c:v>
                </c:pt>
              </c:strCache>
            </c:strRef>
          </c:tx>
          <c:spPr>
            <a:ln w="31750">
              <a:solidFill>
                <a:srgbClr val="FF0000"/>
              </a:solidFill>
              <a:prstDash val="sysDash"/>
            </a:ln>
          </c:spPr>
          <c:marker>
            <c:symbol val="none"/>
          </c:marker>
          <c:dLbls>
            <c:txPr>
              <a:bodyPr/>
              <a:lstStyle/>
              <a:p>
                <a:pPr>
                  <a:defRPr sz="1200" b="1">
                    <a:solidFill>
                      <a:srgbClr val="FF0000"/>
                    </a:solidFill>
                  </a:defRPr>
                </a:pPr>
                <a:endParaRPr lang="hu-H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ADATOK!$A$3:$A$10</c:f>
              <c:strCach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 jún-aug</c:v>
                </c:pt>
              </c:strCache>
            </c:strRef>
          </c:cat>
          <c:val>
            <c:numRef>
              <c:f>ADATOK!$B$3:$B$10</c:f>
              <c:numCache>
                <c:formatCode>0.0</c:formatCode>
                <c:ptCount val="8"/>
                <c:pt idx="0">
                  <c:v>11.171947327461259</c:v>
                </c:pt>
                <c:pt idx="1">
                  <c:v>11.029041420118341</c:v>
                </c:pt>
                <c:pt idx="2">
                  <c:v>11.003048560711933</c:v>
                </c:pt>
                <c:pt idx="3">
                  <c:v>10.176542933552387</c:v>
                </c:pt>
                <c:pt idx="4">
                  <c:v>7.7252999664278814</c:v>
                </c:pt>
                <c:pt idx="5">
                  <c:v>6.8132499015678967</c:v>
                </c:pt>
                <c:pt idx="6">
                  <c:v>5.1149127919590374</c:v>
                </c:pt>
                <c:pt idx="7">
                  <c:v>4.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227712"/>
        <c:axId val="74217728"/>
      </c:lineChart>
      <c:catAx>
        <c:axId val="74214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hu-HU"/>
          </a:p>
        </c:txPr>
        <c:crossAx val="74216192"/>
        <c:crosses val="autoZero"/>
        <c:auto val="1"/>
        <c:lblAlgn val="ctr"/>
        <c:lblOffset val="100"/>
        <c:noMultiLvlLbl val="0"/>
      </c:catAx>
      <c:valAx>
        <c:axId val="74216192"/>
        <c:scaling>
          <c:orientation val="minMax"/>
          <c:max val="4500"/>
          <c:min val="3300"/>
        </c:scaling>
        <c:delete val="0"/>
        <c:axPos val="l"/>
        <c:majorGridlines>
          <c:spPr>
            <a:ln w="0">
              <a:prstDash val="dash"/>
            </a:ln>
          </c:spPr>
        </c:majorGridlines>
        <c:numFmt formatCode="0.0" sourceLinked="1"/>
        <c:majorTickMark val="out"/>
        <c:minorTickMark val="none"/>
        <c:tickLblPos val="nextTo"/>
        <c:crossAx val="74214400"/>
        <c:crosses val="autoZero"/>
        <c:crossBetween val="between"/>
      </c:valAx>
      <c:valAx>
        <c:axId val="74217728"/>
        <c:scaling>
          <c:orientation val="minMax"/>
          <c:min val="3"/>
        </c:scaling>
        <c:delete val="0"/>
        <c:axPos val="r"/>
        <c:numFmt formatCode="0.0" sourceLinked="1"/>
        <c:majorTickMark val="out"/>
        <c:minorTickMark val="none"/>
        <c:tickLblPos val="nextTo"/>
        <c:crossAx val="74227712"/>
        <c:crosses val="max"/>
        <c:crossBetween val="between"/>
      </c:valAx>
      <c:catAx>
        <c:axId val="74227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421772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200" b="1"/>
          </a:pPr>
          <a:endParaRPr lang="hu-HU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218285214348206"/>
          <c:y val="0.19480351414406533"/>
          <c:w val="0.84892825896762902"/>
          <c:h val="0.689216608340623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B$9</c:f>
              <c:strCache>
                <c:ptCount val="1"/>
                <c:pt idx="0">
                  <c:v>Fejér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DA7-4798-A236-9C85931D303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DA7-4798-A236-9C85931D303E}"/>
              </c:ext>
            </c:extLst>
          </c:dPt>
          <c:val>
            <c:numRef>
              <c:f>Munka1!$C$9:$D$9</c:f>
              <c:numCache>
                <c:formatCode>#,##0</c:formatCode>
                <c:ptCount val="2"/>
                <c:pt idx="0">
                  <c:v>5.0609999999999955</c:v>
                </c:pt>
                <c:pt idx="1">
                  <c:v>10.4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DA7-4798-A236-9C85931D30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633344"/>
        <c:axId val="94643328"/>
      </c:barChart>
      <c:catAx>
        <c:axId val="94633344"/>
        <c:scaling>
          <c:orientation val="minMax"/>
        </c:scaling>
        <c:delete val="0"/>
        <c:axPos val="b"/>
        <c:majorTickMark val="none"/>
        <c:minorTickMark val="none"/>
        <c:tickLblPos val="none"/>
        <c:crossAx val="94643328"/>
        <c:crosses val="autoZero"/>
        <c:auto val="1"/>
        <c:lblAlgn val="ctr"/>
        <c:lblOffset val="100"/>
        <c:noMultiLvlLbl val="0"/>
      </c:catAx>
      <c:valAx>
        <c:axId val="9464332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63334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335321947329404"/>
          <c:y val="0.17464471495184761"/>
          <c:w val="0.67329356105341265"/>
          <c:h val="0.620766162101365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B$10</c:f>
              <c:strCache>
                <c:ptCount val="1"/>
                <c:pt idx="0">
                  <c:v>Győr-Moson-Sopron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02-425C-842D-FA9FB2852AD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B02-425C-842D-FA9FB2852ADF}"/>
              </c:ext>
            </c:extLst>
          </c:dPt>
          <c:val>
            <c:numRef>
              <c:f>Munka1!$C$10:$D$10</c:f>
              <c:numCache>
                <c:formatCode>#,##0</c:formatCode>
                <c:ptCount val="2"/>
                <c:pt idx="0">
                  <c:v>2.258</c:v>
                </c:pt>
                <c:pt idx="1">
                  <c:v>4.2089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B02-425C-842D-FA9FB2852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681728"/>
        <c:axId val="94683520"/>
      </c:barChart>
      <c:catAx>
        <c:axId val="94681728"/>
        <c:scaling>
          <c:orientation val="minMax"/>
        </c:scaling>
        <c:delete val="0"/>
        <c:axPos val="b"/>
        <c:majorTickMark val="none"/>
        <c:minorTickMark val="none"/>
        <c:tickLblPos val="none"/>
        <c:crossAx val="94683520"/>
        <c:crosses val="autoZero"/>
        <c:auto val="1"/>
        <c:lblAlgn val="ctr"/>
        <c:lblOffset val="100"/>
        <c:noMultiLvlLbl val="0"/>
      </c:catAx>
      <c:valAx>
        <c:axId val="94683520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6817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2</c:f>
              <c:strCache>
                <c:ptCount val="1"/>
                <c:pt idx="0">
                  <c:v>Heves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07A-4ED6-8318-EA24B0849A1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07A-4ED6-8318-EA24B0849A16}"/>
              </c:ext>
            </c:extLst>
          </c:dPt>
          <c:val>
            <c:numRef>
              <c:f>Munka1!$C$12:$D$12</c:f>
              <c:numCache>
                <c:formatCode>#,##0</c:formatCode>
                <c:ptCount val="2"/>
                <c:pt idx="0">
                  <c:v>8.1710000000000012</c:v>
                </c:pt>
                <c:pt idx="1">
                  <c:v>12.707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07A-4ED6-8318-EA24B0849A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787072"/>
        <c:axId val="94788608"/>
      </c:barChart>
      <c:catAx>
        <c:axId val="94787072"/>
        <c:scaling>
          <c:orientation val="minMax"/>
        </c:scaling>
        <c:delete val="0"/>
        <c:axPos val="b"/>
        <c:majorTickMark val="none"/>
        <c:minorTickMark val="none"/>
        <c:tickLblPos val="none"/>
        <c:crossAx val="94788608"/>
        <c:crosses val="autoZero"/>
        <c:auto val="1"/>
        <c:lblAlgn val="ctr"/>
        <c:lblOffset val="100"/>
        <c:noMultiLvlLbl val="0"/>
      </c:catAx>
      <c:valAx>
        <c:axId val="9478860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78707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3</c:f>
              <c:strCache>
                <c:ptCount val="1"/>
                <c:pt idx="0">
                  <c:v>Jász-Nagykun-Szolnok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E62-47BA-A0EE-7B049CF205C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E62-47BA-A0EE-7B049CF205CC}"/>
              </c:ext>
            </c:extLst>
          </c:dPt>
          <c:val>
            <c:numRef>
              <c:f>Munka1!$C$13:$D$13</c:f>
              <c:numCache>
                <c:formatCode>#,##0</c:formatCode>
                <c:ptCount val="2"/>
                <c:pt idx="0">
                  <c:v>13.547000000000001</c:v>
                </c:pt>
                <c:pt idx="1">
                  <c:v>17.373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E62-47BA-A0EE-7B049CF205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826880"/>
        <c:axId val="94828416"/>
      </c:barChart>
      <c:catAx>
        <c:axId val="94826880"/>
        <c:scaling>
          <c:orientation val="minMax"/>
        </c:scaling>
        <c:delete val="0"/>
        <c:axPos val="b"/>
        <c:majorTickMark val="none"/>
        <c:minorTickMark val="none"/>
        <c:tickLblPos val="none"/>
        <c:crossAx val="94828416"/>
        <c:crosses val="autoZero"/>
        <c:auto val="1"/>
        <c:lblAlgn val="ctr"/>
        <c:lblOffset val="100"/>
        <c:noMultiLvlLbl val="0"/>
      </c:catAx>
      <c:valAx>
        <c:axId val="94828416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82688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1</c:f>
              <c:strCache>
                <c:ptCount val="1"/>
                <c:pt idx="0">
                  <c:v>Hajdú-Bihar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148-4490-AAC2-2B1191518D9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148-4490-AAC2-2B1191518D94}"/>
              </c:ext>
            </c:extLst>
          </c:dPt>
          <c:val>
            <c:numRef>
              <c:f>Munka1!$C$11:$D$11</c:f>
              <c:numCache>
                <c:formatCode>#,##0</c:formatCode>
                <c:ptCount val="2"/>
                <c:pt idx="0">
                  <c:v>22.600999999999999</c:v>
                </c:pt>
                <c:pt idx="1">
                  <c:v>27.7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148-4490-AAC2-2B1191518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923776"/>
        <c:axId val="94925568"/>
      </c:barChart>
      <c:catAx>
        <c:axId val="94923776"/>
        <c:scaling>
          <c:orientation val="minMax"/>
        </c:scaling>
        <c:delete val="0"/>
        <c:axPos val="b"/>
        <c:majorTickMark val="none"/>
        <c:minorTickMark val="none"/>
        <c:tickLblPos val="none"/>
        <c:crossAx val="94925568"/>
        <c:crosses val="autoZero"/>
        <c:auto val="1"/>
        <c:lblAlgn val="ctr"/>
        <c:lblOffset val="100"/>
        <c:noMultiLvlLbl val="0"/>
      </c:catAx>
      <c:valAx>
        <c:axId val="9492556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9237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5</c:f>
              <c:strCache>
                <c:ptCount val="1"/>
                <c:pt idx="0">
                  <c:v>Nógrád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FE3-4662-9B4B-2B96CA87C01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FE3-4662-9B4B-2B96CA87C015}"/>
              </c:ext>
            </c:extLst>
          </c:dPt>
          <c:val>
            <c:numRef>
              <c:f>Munka1!$C$15:$D$15</c:f>
              <c:numCache>
                <c:formatCode>#,##0</c:formatCode>
                <c:ptCount val="2"/>
                <c:pt idx="0">
                  <c:v>8.1810000000000009</c:v>
                </c:pt>
                <c:pt idx="1">
                  <c:v>12.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FE3-4662-9B4B-2B96CA87C0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963584"/>
        <c:axId val="94965120"/>
      </c:barChart>
      <c:catAx>
        <c:axId val="94963584"/>
        <c:scaling>
          <c:orientation val="minMax"/>
        </c:scaling>
        <c:delete val="0"/>
        <c:axPos val="b"/>
        <c:majorTickMark val="none"/>
        <c:minorTickMark val="none"/>
        <c:tickLblPos val="none"/>
        <c:crossAx val="94965120"/>
        <c:crosses val="autoZero"/>
        <c:auto val="1"/>
        <c:lblAlgn val="ctr"/>
        <c:lblOffset val="100"/>
        <c:noMultiLvlLbl val="0"/>
      </c:catAx>
      <c:valAx>
        <c:axId val="94965120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96358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6</c:f>
              <c:strCache>
                <c:ptCount val="1"/>
                <c:pt idx="0">
                  <c:v>Pest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2A-40B9-8E46-4056A242502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2A-40B9-8E46-4056A242502A}"/>
              </c:ext>
            </c:extLst>
          </c:dPt>
          <c:val>
            <c:numRef>
              <c:f>Munka1!$C$16:$D$16</c:f>
              <c:numCache>
                <c:formatCode>#,##0</c:formatCode>
                <c:ptCount val="2"/>
                <c:pt idx="0">
                  <c:v>7.0419999999999998</c:v>
                </c:pt>
                <c:pt idx="1">
                  <c:v>26.815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62A-40B9-8E46-4056A24250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987008"/>
        <c:axId val="94988544"/>
      </c:barChart>
      <c:catAx>
        <c:axId val="94987008"/>
        <c:scaling>
          <c:orientation val="minMax"/>
        </c:scaling>
        <c:delete val="0"/>
        <c:axPos val="b"/>
        <c:majorTickMark val="none"/>
        <c:minorTickMark val="none"/>
        <c:tickLblPos val="none"/>
        <c:crossAx val="94988544"/>
        <c:crosses val="autoZero"/>
        <c:auto val="1"/>
        <c:lblAlgn val="ctr"/>
        <c:lblOffset val="100"/>
        <c:noMultiLvlLbl val="0"/>
      </c:catAx>
      <c:valAx>
        <c:axId val="94988544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98700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8</c:f>
              <c:strCache>
                <c:ptCount val="1"/>
                <c:pt idx="0">
                  <c:v>Szabolcs-Szatmár-Bereg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4A1-408E-B635-4F369682B63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4A1-408E-B635-4F369682B63D}"/>
              </c:ext>
            </c:extLst>
          </c:dPt>
          <c:val>
            <c:numRef>
              <c:f>Munka1!$C$18:$D$18</c:f>
              <c:numCache>
                <c:formatCode>#,##0</c:formatCode>
                <c:ptCount val="2"/>
                <c:pt idx="0">
                  <c:v>38.426000000000002</c:v>
                </c:pt>
                <c:pt idx="1">
                  <c:v>32.713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4A1-408E-B635-4F369682B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018368"/>
        <c:axId val="95028352"/>
      </c:barChart>
      <c:catAx>
        <c:axId val="95018368"/>
        <c:scaling>
          <c:orientation val="minMax"/>
        </c:scaling>
        <c:delete val="0"/>
        <c:axPos val="b"/>
        <c:majorTickMark val="none"/>
        <c:minorTickMark val="none"/>
        <c:tickLblPos val="none"/>
        <c:crossAx val="95028352"/>
        <c:crosses val="autoZero"/>
        <c:auto val="1"/>
        <c:lblAlgn val="ctr"/>
        <c:lblOffset val="100"/>
        <c:noMultiLvlLbl val="0"/>
      </c:catAx>
      <c:valAx>
        <c:axId val="95028352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01836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9</c:f>
              <c:strCache>
                <c:ptCount val="1"/>
                <c:pt idx="0">
                  <c:v>Tolna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FCB-4068-813D-FAC48633E9A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FCB-4068-813D-FAC48633E9A4}"/>
              </c:ext>
            </c:extLst>
          </c:dPt>
          <c:val>
            <c:numRef>
              <c:f>Munka1!$C$19:$D$19</c:f>
              <c:numCache>
                <c:formatCode>#,##0</c:formatCode>
                <c:ptCount val="2"/>
                <c:pt idx="0">
                  <c:v>4.8010000000000002</c:v>
                </c:pt>
                <c:pt idx="1">
                  <c:v>7.77299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FCB-4068-813D-FAC48633E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078656"/>
        <c:axId val="95080448"/>
      </c:barChart>
      <c:catAx>
        <c:axId val="95078656"/>
        <c:scaling>
          <c:orientation val="minMax"/>
        </c:scaling>
        <c:delete val="0"/>
        <c:axPos val="b"/>
        <c:majorTickMark val="none"/>
        <c:minorTickMark val="none"/>
        <c:tickLblPos val="none"/>
        <c:crossAx val="95080448"/>
        <c:crosses val="autoZero"/>
        <c:auto val="1"/>
        <c:lblAlgn val="ctr"/>
        <c:lblOffset val="100"/>
        <c:noMultiLvlLbl val="0"/>
      </c:catAx>
      <c:valAx>
        <c:axId val="9508044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07865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22</c:f>
              <c:strCache>
                <c:ptCount val="1"/>
                <c:pt idx="0">
                  <c:v>Zala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AA1-4CFB-B8FE-9090CA3F6A8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AA1-4CFB-B8FE-9090CA3F6A86}"/>
              </c:ext>
            </c:extLst>
          </c:dPt>
          <c:val>
            <c:numRef>
              <c:f>Munka1!$C$22:$D$22</c:f>
              <c:numCache>
                <c:formatCode>#,##0</c:formatCode>
                <c:ptCount val="2"/>
                <c:pt idx="0">
                  <c:v>5.2249999999999845</c:v>
                </c:pt>
                <c:pt idx="1">
                  <c:v>7.98299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AA1-4CFB-B8FE-9090CA3F6A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360128"/>
        <c:axId val="95361664"/>
      </c:barChart>
      <c:catAx>
        <c:axId val="95360128"/>
        <c:scaling>
          <c:orientation val="minMax"/>
        </c:scaling>
        <c:delete val="0"/>
        <c:axPos val="b"/>
        <c:majorTickMark val="none"/>
        <c:minorTickMark val="none"/>
        <c:tickLblPos val="none"/>
        <c:crossAx val="95361664"/>
        <c:crosses val="autoZero"/>
        <c:auto val="1"/>
        <c:lblAlgn val="ctr"/>
        <c:lblOffset val="100"/>
        <c:noMultiLvlLbl val="0"/>
      </c:catAx>
      <c:valAx>
        <c:axId val="95361664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3601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5-64'!$B$20</c:f>
              <c:strCache>
                <c:ptCount val="1"/>
                <c:pt idx="0">
                  <c:v>MAGYARORSZÁG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15-64'!$C$18:$H$19</c:f>
              <c:multiLvlStrCache>
                <c:ptCount val="6"/>
                <c:lvl>
                  <c:pt idx="0">
                    <c:v>ALAPFOK</c:v>
                  </c:pt>
                  <c:pt idx="1">
                    <c:v>KÖZÉPFOK</c:v>
                  </c:pt>
                  <c:pt idx="2">
                    <c:v>FELSŐFOK</c:v>
                  </c:pt>
                  <c:pt idx="3">
                    <c:v>ALAPFOK</c:v>
                  </c:pt>
                  <c:pt idx="4">
                    <c:v>KÖZÉPFOK</c:v>
                  </c:pt>
                  <c:pt idx="5">
                    <c:v>FELSŐFOK</c:v>
                  </c:pt>
                </c:lvl>
                <c:lvl>
                  <c:pt idx="0">
                    <c:v>2010</c:v>
                  </c:pt>
                  <c:pt idx="3">
                    <c:v>2017</c:v>
                  </c:pt>
                </c:lvl>
              </c:multiLvlStrCache>
            </c:multiLvlStrRef>
          </c:cat>
          <c:val>
            <c:numRef>
              <c:f>'15-64'!$C$20:$H$20</c:f>
              <c:numCache>
                <c:formatCode>0.0</c:formatCode>
                <c:ptCount val="6"/>
                <c:pt idx="0" formatCode="General">
                  <c:v>24.3</c:v>
                </c:pt>
                <c:pt idx="1">
                  <c:v>59.9</c:v>
                </c:pt>
                <c:pt idx="2" formatCode="General">
                  <c:v>77.900000000000006</c:v>
                </c:pt>
                <c:pt idx="3" formatCode="General">
                  <c:v>37.4</c:v>
                </c:pt>
                <c:pt idx="4" formatCode="General">
                  <c:v>72.099999999999994</c:v>
                </c:pt>
                <c:pt idx="5" formatCode="General">
                  <c:v>83.8</c:v>
                </c:pt>
              </c:numCache>
            </c:numRef>
          </c:val>
        </c:ser>
        <c:ser>
          <c:idx val="1"/>
          <c:order val="1"/>
          <c:tx>
            <c:strRef>
              <c:f>'15-64'!$B$21</c:f>
              <c:strCache>
                <c:ptCount val="1"/>
                <c:pt idx="0">
                  <c:v>EURÓPAI UNIÓ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15-64'!$C$18:$H$19</c:f>
              <c:multiLvlStrCache>
                <c:ptCount val="6"/>
                <c:lvl>
                  <c:pt idx="0">
                    <c:v>ALAPFOK</c:v>
                  </c:pt>
                  <c:pt idx="1">
                    <c:v>KÖZÉPFOK</c:v>
                  </c:pt>
                  <c:pt idx="2">
                    <c:v>FELSŐFOK</c:v>
                  </c:pt>
                  <c:pt idx="3">
                    <c:v>ALAPFOK</c:v>
                  </c:pt>
                  <c:pt idx="4">
                    <c:v>KÖZÉPFOK</c:v>
                  </c:pt>
                  <c:pt idx="5">
                    <c:v>FELSŐFOK</c:v>
                  </c:pt>
                </c:lvl>
                <c:lvl>
                  <c:pt idx="0">
                    <c:v>2010</c:v>
                  </c:pt>
                  <c:pt idx="3">
                    <c:v>2017</c:v>
                  </c:pt>
                </c:lvl>
              </c:multiLvlStrCache>
            </c:multiLvlStrRef>
          </c:cat>
          <c:val>
            <c:numRef>
              <c:f>'15-64'!$C$21:$H$21</c:f>
              <c:numCache>
                <c:formatCode>0.0</c:formatCode>
                <c:ptCount val="6"/>
                <c:pt idx="0" formatCode="General">
                  <c:v>44.5</c:v>
                </c:pt>
                <c:pt idx="1">
                  <c:v>67.8</c:v>
                </c:pt>
                <c:pt idx="2" formatCode="General">
                  <c:v>82.2</c:v>
                </c:pt>
                <c:pt idx="3" formatCode="General">
                  <c:v>44.2</c:v>
                </c:pt>
                <c:pt idx="4">
                  <c:v>70</c:v>
                </c:pt>
                <c:pt idx="5" formatCode="General">
                  <c:v>83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74255360"/>
        <c:axId val="74261248"/>
      </c:barChart>
      <c:catAx>
        <c:axId val="742553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hu-HU"/>
          </a:p>
        </c:txPr>
        <c:crossAx val="74261248"/>
        <c:crosses val="autoZero"/>
        <c:auto val="1"/>
        <c:lblAlgn val="ctr"/>
        <c:lblOffset val="100"/>
        <c:noMultiLvlLbl val="0"/>
      </c:catAx>
      <c:valAx>
        <c:axId val="74261248"/>
        <c:scaling>
          <c:orientation val="minMax"/>
        </c:scaling>
        <c:delete val="0"/>
        <c:axPos val="l"/>
        <c:majorGridlines>
          <c:spPr>
            <a:ln w="0">
              <a:prstDash val="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hu-HU"/>
          </a:p>
        </c:txPr>
        <c:crossAx val="7425536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400" b="1"/>
          </a:pPr>
          <a:endParaRPr lang="hu-H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4</c:f>
              <c:strCache>
                <c:ptCount val="1"/>
                <c:pt idx="0">
                  <c:v>Komárom-Esztergom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685-4517-95FA-D5FEDBB2200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685-4517-95FA-D5FEDBB22003}"/>
              </c:ext>
            </c:extLst>
          </c:dPt>
          <c:val>
            <c:numRef>
              <c:f>Munka1!$C$14:$D$14</c:f>
              <c:numCache>
                <c:formatCode>#,##0</c:formatCode>
                <c:ptCount val="2"/>
                <c:pt idx="0">
                  <c:v>3.3099999999999987</c:v>
                </c:pt>
                <c:pt idx="1">
                  <c:v>5.961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685-4517-95FA-D5FEDBB220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395840"/>
        <c:axId val="95397376"/>
      </c:barChart>
      <c:catAx>
        <c:axId val="95395840"/>
        <c:scaling>
          <c:orientation val="minMax"/>
        </c:scaling>
        <c:delete val="0"/>
        <c:axPos val="b"/>
        <c:majorTickMark val="none"/>
        <c:minorTickMark val="none"/>
        <c:tickLblPos val="none"/>
        <c:crossAx val="95397376"/>
        <c:crosses val="autoZero"/>
        <c:auto val="1"/>
        <c:lblAlgn val="ctr"/>
        <c:lblOffset val="100"/>
        <c:noMultiLvlLbl val="0"/>
      </c:catAx>
      <c:valAx>
        <c:axId val="95397376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39584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7</c:f>
              <c:strCache>
                <c:ptCount val="1"/>
                <c:pt idx="0">
                  <c:v>Somogy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476-46CD-86B9-B60AF10F3FB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476-46CD-86B9-B60AF10F3FBF}"/>
              </c:ext>
            </c:extLst>
          </c:dPt>
          <c:val>
            <c:numRef>
              <c:f>Munka1!$C$17:$D$17</c:f>
              <c:numCache>
                <c:formatCode>#,##0</c:formatCode>
                <c:ptCount val="2"/>
                <c:pt idx="0">
                  <c:v>11.387</c:v>
                </c:pt>
                <c:pt idx="1">
                  <c:v>15.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476-46CD-86B9-B60AF10F3F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181056"/>
        <c:axId val="95182848"/>
      </c:barChart>
      <c:catAx>
        <c:axId val="95181056"/>
        <c:scaling>
          <c:orientation val="minMax"/>
        </c:scaling>
        <c:delete val="0"/>
        <c:axPos val="b"/>
        <c:majorTickMark val="none"/>
        <c:minorTickMark val="none"/>
        <c:tickLblPos val="none"/>
        <c:crossAx val="95182848"/>
        <c:crosses val="autoZero"/>
        <c:auto val="1"/>
        <c:lblAlgn val="ctr"/>
        <c:lblOffset val="100"/>
        <c:noMultiLvlLbl val="0"/>
      </c:catAx>
      <c:valAx>
        <c:axId val="9518284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18105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20</c:f>
              <c:strCache>
                <c:ptCount val="1"/>
                <c:pt idx="0">
                  <c:v>Vas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456-450D-80AA-3D490E7894F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456-450D-80AA-3D490E7894F8}"/>
              </c:ext>
            </c:extLst>
          </c:dPt>
          <c:val>
            <c:numRef>
              <c:f>Munka1!$C$20:$D$20</c:f>
              <c:numCache>
                <c:formatCode>#,##0</c:formatCode>
                <c:ptCount val="2"/>
                <c:pt idx="0">
                  <c:v>2.4409999999999998</c:v>
                </c:pt>
                <c:pt idx="1">
                  <c:v>4.43900000000001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456-450D-80AA-3D490E7894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204480"/>
        <c:axId val="95206016"/>
      </c:barChart>
      <c:catAx>
        <c:axId val="95204480"/>
        <c:scaling>
          <c:orientation val="minMax"/>
        </c:scaling>
        <c:delete val="0"/>
        <c:axPos val="b"/>
        <c:majorTickMark val="none"/>
        <c:minorTickMark val="none"/>
        <c:tickLblPos val="none"/>
        <c:crossAx val="95206016"/>
        <c:crosses val="autoZero"/>
        <c:auto val="1"/>
        <c:lblAlgn val="ctr"/>
        <c:lblOffset val="100"/>
        <c:noMultiLvlLbl val="0"/>
      </c:catAx>
      <c:valAx>
        <c:axId val="95206016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20448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21</c:f>
              <c:strCache>
                <c:ptCount val="1"/>
                <c:pt idx="0">
                  <c:v>Veszprém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257-42B2-8242-64F958AEFAC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257-42B2-8242-64F958AEFAC4}"/>
              </c:ext>
            </c:extLst>
          </c:dPt>
          <c:val>
            <c:numRef>
              <c:f>Munka1!$C$21:$D$21</c:f>
              <c:numCache>
                <c:formatCode>#,##0</c:formatCode>
                <c:ptCount val="2"/>
                <c:pt idx="0">
                  <c:v>4.6099999999999985</c:v>
                </c:pt>
                <c:pt idx="1">
                  <c:v>7.423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257-42B2-8242-64F958AEF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248384"/>
        <c:axId val="95249920"/>
      </c:barChart>
      <c:catAx>
        <c:axId val="95248384"/>
        <c:scaling>
          <c:orientation val="minMax"/>
        </c:scaling>
        <c:delete val="0"/>
        <c:axPos val="b"/>
        <c:majorTickMark val="none"/>
        <c:minorTickMark val="none"/>
        <c:tickLblPos val="none"/>
        <c:crossAx val="95249920"/>
        <c:crosses val="autoZero"/>
        <c:auto val="1"/>
        <c:lblAlgn val="ctr"/>
        <c:lblOffset val="100"/>
        <c:noMultiLvlLbl val="0"/>
      </c:catAx>
      <c:valAx>
        <c:axId val="95249920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524838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649210039225437E-2"/>
          <c:y val="0.16057258935432595"/>
          <c:w val="0.89300190503211474"/>
          <c:h val="0.654238942890096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ÁBRAÁllásker, közfogl. szakképz'!$B$114</c:f>
              <c:strCache>
                <c:ptCount val="1"/>
                <c:pt idx="0">
                  <c:v>registered</c:v>
                </c:pt>
              </c:strCache>
            </c:strRef>
          </c:tx>
          <c:invertIfNegative val="0"/>
          <c:dLbls>
            <c:txPr>
              <a:bodyPr rot="0" vert="horz"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ÁBRAÁllásker, közfogl. szakképz'!$C$73:$I$73</c:f>
              <c:strCache>
                <c:ptCount val="7"/>
                <c:pt idx="0">
                  <c:v>NON SKILLED</c:v>
                </c:pt>
                <c:pt idx="1">
                  <c:v>BASIC LEVEL</c:v>
                </c:pt>
                <c:pt idx="2">
                  <c:v>INTERMEDIATE LEVEL BOUND TO BASIC</c:v>
                </c:pt>
                <c:pt idx="3">
                  <c:v>INTERMEDIATE LEVEL BOUND TO INTERVEDIATE VOCATIONAL LEVEL</c:v>
                </c:pt>
                <c:pt idx="4">
                  <c:v>UPPER LEVEL VOCATIONAL</c:v>
                </c:pt>
                <c:pt idx="5">
                  <c:v>UPPER LEVEL VOCATIONAL TRAINING BOUND TO UPPER LEVEL EDUCATION</c:v>
                </c:pt>
                <c:pt idx="6">
                  <c:v>UPPER LEVEL EDUCATION</c:v>
                </c:pt>
              </c:strCache>
            </c:strRef>
          </c:cat>
          <c:val>
            <c:numRef>
              <c:f>'ÁBRAÁllásker, közfogl. szakképz'!$C$114:$I$114</c:f>
              <c:numCache>
                <c:formatCode>#,##0.0</c:formatCode>
                <c:ptCount val="7"/>
                <c:pt idx="0">
                  <c:v>38.590754694881504</c:v>
                </c:pt>
                <c:pt idx="1">
                  <c:v>4.8920470073790652</c:v>
                </c:pt>
                <c:pt idx="2">
                  <c:v>37.590286182797797</c:v>
                </c:pt>
                <c:pt idx="3">
                  <c:v>11.340269915017114</c:v>
                </c:pt>
                <c:pt idx="4">
                  <c:v>3.1025911321073933</c:v>
                </c:pt>
                <c:pt idx="5">
                  <c:v>0.13404651283853253</c:v>
                </c:pt>
                <c:pt idx="6">
                  <c:v>4.3500045549785922</c:v>
                </c:pt>
              </c:numCache>
            </c:numRef>
          </c:val>
        </c:ser>
        <c:ser>
          <c:idx val="1"/>
          <c:order val="1"/>
          <c:tx>
            <c:strRef>
              <c:f>'ÁBRAÁllásker, közfogl. szakképz'!$B$115</c:f>
              <c:strCache>
                <c:ptCount val="1"/>
                <c:pt idx="0">
                  <c:v>public employment participant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ÁBRAÁllásker, közfogl. szakképz'!$C$73:$I$73</c:f>
              <c:strCache>
                <c:ptCount val="7"/>
                <c:pt idx="0">
                  <c:v>NON SKILLED</c:v>
                </c:pt>
                <c:pt idx="1">
                  <c:v>BASIC LEVEL</c:v>
                </c:pt>
                <c:pt idx="2">
                  <c:v>INTERMEDIATE LEVEL BOUND TO BASIC</c:v>
                </c:pt>
                <c:pt idx="3">
                  <c:v>INTERMEDIATE LEVEL BOUND TO INTERVEDIATE VOCATIONAL LEVEL</c:v>
                </c:pt>
                <c:pt idx="4">
                  <c:v>UPPER LEVEL VOCATIONAL</c:v>
                </c:pt>
                <c:pt idx="5">
                  <c:v>UPPER LEVEL VOCATIONAL TRAINING BOUND TO UPPER LEVEL EDUCATION</c:v>
                </c:pt>
                <c:pt idx="6">
                  <c:v>UPPER LEVEL EDUCATION</c:v>
                </c:pt>
              </c:strCache>
            </c:strRef>
          </c:cat>
          <c:val>
            <c:numRef>
              <c:f>'ÁBRAÁllásker, közfogl. szakképz'!$C$115:$I$115</c:f>
              <c:numCache>
                <c:formatCode>#,##0.0</c:formatCode>
                <c:ptCount val="7"/>
                <c:pt idx="0">
                  <c:v>42.698093469320533</c:v>
                </c:pt>
                <c:pt idx="1">
                  <c:v>11.904968182550828</c:v>
                </c:pt>
                <c:pt idx="2">
                  <c:v>33.942798834599429</c:v>
                </c:pt>
                <c:pt idx="3">
                  <c:v>7.5327946075224057</c:v>
                </c:pt>
                <c:pt idx="4">
                  <c:v>2.3697792445392074</c:v>
                </c:pt>
                <c:pt idx="5">
                  <c:v>0.1803006471585869</c:v>
                </c:pt>
                <c:pt idx="6">
                  <c:v>1.37126501430900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23763968"/>
        <c:axId val="23765760"/>
      </c:barChart>
      <c:catAx>
        <c:axId val="2376396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hu-HU"/>
          </a:p>
        </c:txPr>
        <c:crossAx val="23765760"/>
        <c:crosses val="autoZero"/>
        <c:auto val="1"/>
        <c:lblAlgn val="ctr"/>
        <c:lblOffset val="100"/>
        <c:noMultiLvlLbl val="0"/>
      </c:catAx>
      <c:valAx>
        <c:axId val="23765760"/>
        <c:scaling>
          <c:orientation val="minMax"/>
        </c:scaling>
        <c:delete val="0"/>
        <c:axPos val="l"/>
        <c:majorGridlines/>
        <c:numFmt formatCode="#,##0.0" sourceLinked="1"/>
        <c:majorTickMark val="none"/>
        <c:minorTickMark val="none"/>
        <c:tickLblPos val="nextTo"/>
        <c:crossAx val="237639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9708564629539052"/>
          <c:y val="0.3405419895109375"/>
          <c:w val="0.25259489349863329"/>
          <c:h val="0.17228807798981199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200" b="1"/>
          </a:pPr>
          <a:endParaRPr lang="hu-H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3</c:f>
              <c:strCache>
                <c:ptCount val="1"/>
                <c:pt idx="0">
                  <c:v>Budapest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003-4717-B8D8-52CD4EE312E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003-4717-B8D8-52CD4EE312E1}"/>
              </c:ext>
            </c:extLst>
          </c:dPt>
          <c:val>
            <c:numRef>
              <c:f>Munka1!$C$3:$D$3</c:f>
              <c:numCache>
                <c:formatCode>#,##0</c:formatCode>
                <c:ptCount val="2"/>
                <c:pt idx="0">
                  <c:v>4.3099999999999996</c:v>
                </c:pt>
                <c:pt idx="1">
                  <c:v>25.542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003-4717-B8D8-52CD4EE312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88328832"/>
        <c:axId val="94437760"/>
      </c:barChart>
      <c:catAx>
        <c:axId val="88328832"/>
        <c:scaling>
          <c:orientation val="minMax"/>
        </c:scaling>
        <c:delete val="0"/>
        <c:axPos val="b"/>
        <c:majorTickMark val="none"/>
        <c:minorTickMark val="none"/>
        <c:tickLblPos val="none"/>
        <c:crossAx val="94437760"/>
        <c:crosses val="autoZero"/>
        <c:auto val="1"/>
        <c:lblAlgn val="ctr"/>
        <c:lblOffset val="100"/>
        <c:noMultiLvlLbl val="0"/>
      </c:catAx>
      <c:valAx>
        <c:axId val="94437760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88328832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4</c:f>
              <c:strCache>
                <c:ptCount val="1"/>
                <c:pt idx="0">
                  <c:v>Baranya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A9-4FC4-81F5-3C2E24BA101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A9-4FC4-81F5-3C2E24BA101C}"/>
              </c:ext>
            </c:extLst>
          </c:dPt>
          <c:val>
            <c:numRef>
              <c:f>Munka1!$C$4:$D$4</c:f>
              <c:numCache>
                <c:formatCode>#,##0</c:formatCode>
                <c:ptCount val="2"/>
                <c:pt idx="0">
                  <c:v>15.7</c:v>
                </c:pt>
                <c:pt idx="1">
                  <c:v>15.7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7A9-4FC4-81F5-3C2E24BA1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459392"/>
        <c:axId val="94460928"/>
      </c:barChart>
      <c:catAx>
        <c:axId val="94459392"/>
        <c:scaling>
          <c:orientation val="minMax"/>
        </c:scaling>
        <c:delete val="0"/>
        <c:axPos val="b"/>
        <c:majorTickMark val="none"/>
        <c:minorTickMark val="none"/>
        <c:tickLblPos val="none"/>
        <c:crossAx val="94460928"/>
        <c:crosses val="autoZero"/>
        <c:auto val="1"/>
        <c:lblAlgn val="ctr"/>
        <c:lblOffset val="100"/>
        <c:noMultiLvlLbl val="0"/>
      </c:catAx>
      <c:valAx>
        <c:axId val="9446092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45939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5</c:f>
              <c:strCache>
                <c:ptCount val="1"/>
                <c:pt idx="0">
                  <c:v>Bács-Kiskun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009-452B-81DC-6FE373D4535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009-452B-81DC-6FE373D45350}"/>
              </c:ext>
            </c:extLst>
          </c:dPt>
          <c:val>
            <c:numRef>
              <c:f>Munka1!$C$5:$D$5</c:f>
              <c:numCache>
                <c:formatCode>#,##0</c:formatCode>
                <c:ptCount val="2"/>
                <c:pt idx="0">
                  <c:v>10.534000000000001</c:v>
                </c:pt>
                <c:pt idx="1">
                  <c:v>16.9749999999999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009-452B-81DC-6FE373D453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503296"/>
        <c:axId val="94504832"/>
      </c:barChart>
      <c:catAx>
        <c:axId val="94503296"/>
        <c:scaling>
          <c:orientation val="minMax"/>
        </c:scaling>
        <c:delete val="0"/>
        <c:axPos val="b"/>
        <c:majorTickMark val="none"/>
        <c:minorTickMark val="none"/>
        <c:tickLblPos val="none"/>
        <c:crossAx val="94504832"/>
        <c:crosses val="autoZero"/>
        <c:auto val="1"/>
        <c:lblAlgn val="ctr"/>
        <c:lblOffset val="100"/>
        <c:noMultiLvlLbl val="0"/>
      </c:catAx>
      <c:valAx>
        <c:axId val="94504832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50329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6</c:f>
              <c:strCache>
                <c:ptCount val="1"/>
                <c:pt idx="0">
                  <c:v>Békés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6DE-477A-A817-69D9E752F09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6DE-477A-A817-69D9E752F093}"/>
              </c:ext>
            </c:extLst>
          </c:dPt>
          <c:val>
            <c:numRef>
              <c:f>Munka1!$C$6:$D$6</c:f>
              <c:numCache>
                <c:formatCode>#,##0</c:formatCode>
                <c:ptCount val="2"/>
                <c:pt idx="0">
                  <c:v>16.076000000000001</c:v>
                </c:pt>
                <c:pt idx="1">
                  <c:v>12.431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6DE-477A-A817-69D9E752F0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526464"/>
        <c:axId val="94536448"/>
      </c:barChart>
      <c:catAx>
        <c:axId val="94526464"/>
        <c:scaling>
          <c:orientation val="minMax"/>
        </c:scaling>
        <c:delete val="0"/>
        <c:axPos val="b"/>
        <c:majorTickMark val="none"/>
        <c:minorTickMark val="none"/>
        <c:tickLblPos val="none"/>
        <c:crossAx val="94536448"/>
        <c:crosses val="autoZero"/>
        <c:auto val="1"/>
        <c:lblAlgn val="ctr"/>
        <c:lblOffset val="100"/>
        <c:noMultiLvlLbl val="0"/>
      </c:catAx>
      <c:valAx>
        <c:axId val="94536448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52646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7</c:f>
              <c:strCache>
                <c:ptCount val="1"/>
                <c:pt idx="0">
                  <c:v>Borsod-Abaúj-Zemplén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A1-46EF-92B0-B8551A7B58F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BA1-46EF-92B0-B8551A7B58F4}"/>
              </c:ext>
            </c:extLst>
          </c:dPt>
          <c:val>
            <c:numRef>
              <c:f>Munka1!$C$7:$D$7</c:f>
              <c:numCache>
                <c:formatCode>#,##0</c:formatCode>
                <c:ptCount val="2"/>
                <c:pt idx="0">
                  <c:v>39.604000000000006</c:v>
                </c:pt>
                <c:pt idx="1">
                  <c:v>39.5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BA1-46EF-92B0-B8551A7B5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566272"/>
        <c:axId val="94567808"/>
      </c:barChart>
      <c:catAx>
        <c:axId val="94566272"/>
        <c:scaling>
          <c:orientation val="minMax"/>
        </c:scaling>
        <c:delete val="0"/>
        <c:axPos val="b"/>
        <c:majorTickMark val="none"/>
        <c:minorTickMark val="none"/>
        <c:tickLblPos val="none"/>
        <c:crossAx val="94567808"/>
        <c:crosses val="autoZero"/>
        <c:auto val="1"/>
        <c:lblAlgn val="ctr"/>
        <c:lblOffset val="100"/>
        <c:noMultiLvlLbl val="0"/>
      </c:catAx>
      <c:valAx>
        <c:axId val="94567808"/>
        <c:scaling>
          <c:orientation val="minMax"/>
          <c:max val="50"/>
          <c:min val="0"/>
        </c:scaling>
        <c:delete val="1"/>
        <c:axPos val="l"/>
        <c:numFmt formatCode="#,##0" sourceLinked="1"/>
        <c:majorTickMark val="out"/>
        <c:minorTickMark val="none"/>
        <c:tickLblPos val="none"/>
        <c:crossAx val="945662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600" b="1"/>
      </a:pPr>
      <a:endParaRPr lang="hu-H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8</c:f>
              <c:strCache>
                <c:ptCount val="1"/>
                <c:pt idx="0">
                  <c:v>Csongrád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052-4122-A4C2-4FC833A7A69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052-4122-A4C2-4FC833A7A698}"/>
              </c:ext>
            </c:extLst>
          </c:dPt>
          <c:val>
            <c:numRef>
              <c:f>Munka1!$C$8:$D$8</c:f>
              <c:numCache>
                <c:formatCode>#,##0</c:formatCode>
                <c:ptCount val="2"/>
                <c:pt idx="0">
                  <c:v>7.7039999999999997</c:v>
                </c:pt>
                <c:pt idx="1">
                  <c:v>10.2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052-4122-A4C2-4FC833A7A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4610176"/>
        <c:axId val="94611712"/>
      </c:barChart>
      <c:catAx>
        <c:axId val="94610176"/>
        <c:scaling>
          <c:orientation val="minMax"/>
        </c:scaling>
        <c:delete val="0"/>
        <c:axPos val="b"/>
        <c:majorTickMark val="none"/>
        <c:minorTickMark val="none"/>
        <c:tickLblPos val="none"/>
        <c:crossAx val="94611712"/>
        <c:crosses val="autoZero"/>
        <c:auto val="1"/>
        <c:lblAlgn val="ctr"/>
        <c:lblOffset val="100"/>
        <c:noMultiLvlLbl val="0"/>
      </c:catAx>
      <c:valAx>
        <c:axId val="94611712"/>
        <c:scaling>
          <c:orientation val="minMax"/>
          <c:max val="50"/>
        </c:scaling>
        <c:delete val="1"/>
        <c:axPos val="l"/>
        <c:numFmt formatCode="#,##0" sourceLinked="1"/>
        <c:majorTickMark val="out"/>
        <c:minorTickMark val="none"/>
        <c:tickLblPos val="none"/>
        <c:crossAx val="946101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536</cdr:x>
      <cdr:y>0.92246</cdr:y>
    </cdr:from>
    <cdr:to>
      <cdr:x>0.52679</cdr:x>
      <cdr:y>0.98197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1656185" y="4464496"/>
          <a:ext cx="259228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19643</cdr:x>
      <cdr:y>0.92246</cdr:y>
    </cdr:from>
    <cdr:to>
      <cdr:x>0.54464</cdr:x>
      <cdr:y>0.98197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1584177" y="4464496"/>
          <a:ext cx="2808312" cy="28803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200" b="1" dirty="0" smtClean="0"/>
            <a:t>NUMBER OF EMPLOYED, 1000 PERSONS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60714</cdr:x>
      <cdr:y>0.92246</cdr:y>
    </cdr:from>
    <cdr:to>
      <cdr:x>0.9375</cdr:x>
      <cdr:y>0.98197</cdr:y>
    </cdr:to>
    <cdr:sp macro="" textlink="">
      <cdr:nvSpPr>
        <cdr:cNvPr id="4" name="Szövegdoboz 1"/>
        <cdr:cNvSpPr txBox="1"/>
      </cdr:nvSpPr>
      <cdr:spPr>
        <a:xfrm xmlns:a="http://schemas.openxmlformats.org/drawingml/2006/main">
          <a:off x="4896545" y="4464496"/>
          <a:ext cx="2664296" cy="28803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UNEMPLOYMENT RATE, %</a:t>
          </a:r>
          <a:endParaRPr lang="hu-HU" sz="12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405</cdr:x>
      <cdr:y>0.80046</cdr:y>
    </cdr:from>
    <cdr:to>
      <cdr:x>0.18919</cdr:x>
      <cdr:y>0.84577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432048" y="3816424"/>
          <a:ext cx="1080120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BASIC LEVEL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20721</cdr:x>
      <cdr:y>0.80046</cdr:y>
    </cdr:from>
    <cdr:to>
      <cdr:x>0.35135</cdr:x>
      <cdr:y>0.84577</cdr:y>
    </cdr:to>
    <cdr:sp macro="" textlink="">
      <cdr:nvSpPr>
        <cdr:cNvPr id="3" name="Szövegdoboz 1"/>
        <cdr:cNvSpPr txBox="1"/>
      </cdr:nvSpPr>
      <cdr:spPr>
        <a:xfrm xmlns:a="http://schemas.openxmlformats.org/drawingml/2006/main">
          <a:off x="1656184" y="3816424"/>
          <a:ext cx="1152128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INTERMEDIATE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36036</cdr:x>
      <cdr:y>0.80046</cdr:y>
    </cdr:from>
    <cdr:to>
      <cdr:x>0.4955</cdr:x>
      <cdr:y>0.84577</cdr:y>
    </cdr:to>
    <cdr:sp macro="" textlink="">
      <cdr:nvSpPr>
        <cdr:cNvPr id="4" name="Szövegdoboz 1"/>
        <cdr:cNvSpPr txBox="1"/>
      </cdr:nvSpPr>
      <cdr:spPr>
        <a:xfrm xmlns:a="http://schemas.openxmlformats.org/drawingml/2006/main">
          <a:off x="2880320" y="3816424"/>
          <a:ext cx="1080120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UPPER LEVEL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83784</cdr:x>
      <cdr:y>0.80046</cdr:y>
    </cdr:from>
    <cdr:to>
      <cdr:x>0.97297</cdr:x>
      <cdr:y>0.84577</cdr:y>
    </cdr:to>
    <cdr:sp macro="" textlink="">
      <cdr:nvSpPr>
        <cdr:cNvPr id="5" name="Szövegdoboz 1"/>
        <cdr:cNvSpPr txBox="1"/>
      </cdr:nvSpPr>
      <cdr:spPr>
        <a:xfrm xmlns:a="http://schemas.openxmlformats.org/drawingml/2006/main">
          <a:off x="6696744" y="3816424"/>
          <a:ext cx="1080120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UPPER LEVEL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67568</cdr:x>
      <cdr:y>0.80046</cdr:y>
    </cdr:from>
    <cdr:to>
      <cdr:x>0.81982</cdr:x>
      <cdr:y>0.84577</cdr:y>
    </cdr:to>
    <cdr:sp macro="" textlink="">
      <cdr:nvSpPr>
        <cdr:cNvPr id="6" name="Szövegdoboz 1"/>
        <cdr:cNvSpPr txBox="1"/>
      </cdr:nvSpPr>
      <cdr:spPr>
        <a:xfrm xmlns:a="http://schemas.openxmlformats.org/drawingml/2006/main">
          <a:off x="5400600" y="3816424"/>
          <a:ext cx="1152128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INTERMEDIATE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53153</cdr:x>
      <cdr:y>0.80046</cdr:y>
    </cdr:from>
    <cdr:to>
      <cdr:x>0.66667</cdr:x>
      <cdr:y>0.84577</cdr:y>
    </cdr:to>
    <cdr:sp macro="" textlink="">
      <cdr:nvSpPr>
        <cdr:cNvPr id="7" name="Szövegdoboz 1"/>
        <cdr:cNvSpPr txBox="1"/>
      </cdr:nvSpPr>
      <cdr:spPr>
        <a:xfrm xmlns:a="http://schemas.openxmlformats.org/drawingml/2006/main">
          <a:off x="4248472" y="3816424"/>
          <a:ext cx="1080120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BASIC LEVEL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33333</cdr:x>
      <cdr:y>0.92128</cdr:y>
    </cdr:from>
    <cdr:to>
      <cdr:x>0.51351</cdr:x>
      <cdr:y>0.96659</cdr:y>
    </cdr:to>
    <cdr:sp macro="" textlink="">
      <cdr:nvSpPr>
        <cdr:cNvPr id="8" name="Szövegdoboz 1"/>
        <cdr:cNvSpPr txBox="1"/>
      </cdr:nvSpPr>
      <cdr:spPr>
        <a:xfrm xmlns:a="http://schemas.openxmlformats.org/drawingml/2006/main">
          <a:off x="2664296" y="4392488"/>
          <a:ext cx="1440160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HUNGARY</a:t>
          </a:r>
          <a:endParaRPr lang="hu-HU" sz="1200" b="1" dirty="0"/>
        </a:p>
      </cdr:txBody>
    </cdr:sp>
  </cdr:relSizeAnchor>
  <cdr:relSizeAnchor xmlns:cdr="http://schemas.openxmlformats.org/drawingml/2006/chartDrawing">
    <cdr:from>
      <cdr:x>0.54054</cdr:x>
      <cdr:y>0.92128</cdr:y>
    </cdr:from>
    <cdr:to>
      <cdr:x>0.72072</cdr:x>
      <cdr:y>0.96659</cdr:y>
    </cdr:to>
    <cdr:sp macro="" textlink="">
      <cdr:nvSpPr>
        <cdr:cNvPr id="9" name="Szövegdoboz 1"/>
        <cdr:cNvSpPr txBox="1"/>
      </cdr:nvSpPr>
      <cdr:spPr>
        <a:xfrm xmlns:a="http://schemas.openxmlformats.org/drawingml/2006/main">
          <a:off x="4320480" y="4392488"/>
          <a:ext cx="1440160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200" b="1" dirty="0" smtClean="0"/>
            <a:t>EU</a:t>
          </a:r>
          <a:endParaRPr lang="hu-HU" sz="12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665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776866" y="1"/>
            <a:ext cx="2890665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B5426D-227C-480F-86D1-7C3A6447898C}" type="datetimeFigureOut">
              <a:rPr lang="hu-HU" smtClean="0"/>
              <a:t>2017.11.07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428630"/>
            <a:ext cx="2890665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776866" y="9428630"/>
            <a:ext cx="2890665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65FBD1-B3D7-4AF5-8855-DD87F640237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366781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60D6316-5466-45F5-B4F3-1D772E64FC68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hu-H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7EEB7B89-D673-4B5F-8181-36D0A610AF5F}" type="slidenum">
              <a:rPr lang="hu-HU" altLang="hu-HU"/>
              <a:pPr>
                <a:defRPr/>
              </a:pPr>
              <a:t>‹#›</a:t>
            </a:fld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17747963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l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78759"/>
            <a:ext cx="7772400" cy="1470025"/>
          </a:xfrm>
        </p:spPr>
        <p:txBody>
          <a:bodyPr>
            <a:normAutofit/>
          </a:bodyPr>
          <a:lstStyle>
            <a:lvl1pPr>
              <a:defRPr sz="3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786322"/>
            <a:ext cx="6400800" cy="1357298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hu-H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C944CA-A0A1-4E87-9174-64D27DE69C99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40525" y="6089650"/>
            <a:ext cx="2133600" cy="365125"/>
          </a:xfrm>
        </p:spPr>
        <p:txBody>
          <a:bodyPr/>
          <a:lstStyle>
            <a:lvl1pPr>
              <a:defRPr sz="1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26C82653-31E5-466A-8F2B-70F13A22AF49}" type="slidenum">
              <a:rPr lang="hu-HU" altLang="hu-HU"/>
              <a:pPr>
                <a:defRPr/>
              </a:pPr>
              <a:t>‹#›</a:t>
            </a:fld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3789602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28736"/>
            <a:ext cx="7772400" cy="1285884"/>
          </a:xfrm>
        </p:spPr>
        <p:txBody>
          <a:bodyPr anchor="t">
            <a:normAutofit/>
          </a:bodyPr>
          <a:lstStyle>
            <a:lvl1pPr>
              <a:defRPr sz="3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86058"/>
            <a:ext cx="6400800" cy="71438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</p:nvPr>
        </p:nvSpPr>
        <p:spPr bwMode="auto">
          <a:xfrm>
            <a:off x="785786" y="3571876"/>
            <a:ext cx="7572428" cy="114300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/>
          </a:p>
        </p:txBody>
      </p:sp>
      <p:sp>
        <p:nvSpPr>
          <p:cNvPr id="9" name="Content Placeholder 4"/>
          <p:cNvSpPr>
            <a:spLocks noGrp="1"/>
          </p:cNvSpPr>
          <p:nvPr>
            <p:ph idx="14"/>
          </p:nvPr>
        </p:nvSpPr>
        <p:spPr bwMode="auto">
          <a:xfrm>
            <a:off x="785786" y="4786322"/>
            <a:ext cx="7572428" cy="1000132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 algn="l">
              <a:buFont typeface="+mj-lt"/>
              <a:buAutoNum type="arabicPeriod"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53FD02-C093-451D-9290-714E6E373630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171070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1910" y="1285860"/>
            <a:ext cx="3471858" cy="857256"/>
          </a:xfrm>
        </p:spPr>
        <p:txBody>
          <a:bodyPr anchor="t">
            <a:normAutofit/>
          </a:bodyPr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 bwMode="auto">
          <a:xfrm>
            <a:off x="3663561" y="2214554"/>
            <a:ext cx="4714908" cy="400052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/>
          </a:p>
        </p:txBody>
      </p:sp>
      <p:sp>
        <p:nvSpPr>
          <p:cNvPr id="10" name="Tartalom helye 2"/>
          <p:cNvSpPr>
            <a:spLocks noGrp="1"/>
          </p:cNvSpPr>
          <p:nvPr>
            <p:ph idx="13"/>
          </p:nvPr>
        </p:nvSpPr>
        <p:spPr>
          <a:xfrm>
            <a:off x="908566" y="1376038"/>
            <a:ext cx="2651379" cy="4802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E0C6FC-B510-49CB-90C7-59FD0DFEB477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38934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281107"/>
            <a:ext cx="7772400" cy="504819"/>
          </a:xfrm>
        </p:spPr>
        <p:txBody>
          <a:bodyPr anchor="t">
            <a:normAutofit/>
          </a:bodyPr>
          <a:lstStyle>
            <a:lvl1pPr algn="ctr">
              <a:defRPr sz="1800" b="0" cap="none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</p:nvPr>
        </p:nvSpPr>
        <p:spPr bwMode="auto">
          <a:xfrm>
            <a:off x="785786" y="4786322"/>
            <a:ext cx="7572428" cy="150019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/>
          </a:p>
        </p:txBody>
      </p:sp>
      <p:sp>
        <p:nvSpPr>
          <p:cNvPr id="9" name="Tartalom helye 2"/>
          <p:cNvSpPr>
            <a:spLocks noGrp="1"/>
          </p:cNvSpPr>
          <p:nvPr>
            <p:ph idx="14"/>
          </p:nvPr>
        </p:nvSpPr>
        <p:spPr>
          <a:xfrm>
            <a:off x="908566" y="1928803"/>
            <a:ext cx="3601290" cy="26964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12" name="Tartalom helye 2"/>
          <p:cNvSpPr>
            <a:spLocks noGrp="1"/>
          </p:cNvSpPr>
          <p:nvPr>
            <p:ph idx="15"/>
          </p:nvPr>
        </p:nvSpPr>
        <p:spPr>
          <a:xfrm>
            <a:off x="4643438" y="1928803"/>
            <a:ext cx="3601290" cy="26964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598469-35DA-4B36-A16B-6BB57C86A626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830552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 hidden="1"/>
          <p:cNvSpPr>
            <a:spLocks noChangeArrowheads="1"/>
          </p:cNvSpPr>
          <p:nvPr userDrawn="1"/>
        </p:nvSpPr>
        <p:spPr bwMode="auto">
          <a:xfrm>
            <a:off x="8247063" y="52388"/>
            <a:ext cx="6699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endParaRPr lang="en-US" altLang="hu-HU" sz="800">
              <a:solidFill>
                <a:srgbClr val="808080"/>
              </a:solidFill>
              <a:latin typeface="Calibri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988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bg_1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itle style</a:t>
            </a:r>
            <a:endParaRPr lang="hu-HU" altLang="hu-HU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ext styles</a:t>
            </a:r>
          </a:p>
          <a:p>
            <a:pPr lvl="1"/>
            <a:r>
              <a:rPr lang="en-US" altLang="hu-HU" smtClean="0"/>
              <a:t>Second level</a:t>
            </a:r>
          </a:p>
          <a:p>
            <a:pPr lvl="2"/>
            <a:r>
              <a:rPr lang="en-US" altLang="hu-HU" smtClean="0"/>
              <a:t>Third level</a:t>
            </a:r>
          </a:p>
          <a:p>
            <a:pPr lvl="3"/>
            <a:r>
              <a:rPr lang="en-US" altLang="hu-HU" smtClean="0"/>
              <a:t>Fourth level</a:t>
            </a:r>
          </a:p>
          <a:p>
            <a:pPr lvl="4"/>
            <a:r>
              <a:rPr lang="en-US" altLang="hu-HU" smtClean="0"/>
              <a:t>Fifth level</a:t>
            </a:r>
            <a:endParaRPr lang="hu-HU" altLang="hu-H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EA24A56-781D-4942-8694-CBA977AAE096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24650" y="614362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34FB246F-263E-47FD-A862-A11D98474C37}" type="slidenum">
              <a:rPr lang="hu-HU" altLang="hu-HU"/>
              <a:pPr>
                <a:defRPr/>
              </a:pPr>
              <a:t>‹#›</a:t>
            </a:fld>
            <a:endParaRPr lang="hu-HU" alt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bg_2_beloldal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itle style</a:t>
            </a:r>
            <a:endParaRPr lang="hu-HU" altLang="hu-HU" smtClean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ext styles</a:t>
            </a:r>
          </a:p>
          <a:p>
            <a:pPr lvl="1"/>
            <a:r>
              <a:rPr lang="en-US" altLang="hu-HU" smtClean="0"/>
              <a:t>Second level</a:t>
            </a:r>
          </a:p>
          <a:p>
            <a:pPr lvl="2"/>
            <a:r>
              <a:rPr lang="en-US" altLang="hu-HU" smtClean="0"/>
              <a:t>Third level</a:t>
            </a:r>
          </a:p>
          <a:p>
            <a:pPr lvl="3"/>
            <a:r>
              <a:rPr lang="en-US" altLang="hu-HU" smtClean="0"/>
              <a:t>Fourth level</a:t>
            </a:r>
          </a:p>
          <a:p>
            <a:pPr lvl="4"/>
            <a:r>
              <a:rPr lang="en-US" altLang="hu-HU" smtClean="0"/>
              <a:t>Fifth level</a:t>
            </a:r>
            <a:endParaRPr lang="hu-HU" altLang="hu-H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45E06BF-5181-4DEA-98CF-33E6651E1E73}" type="datetimeFigureOut">
              <a:rPr lang="hu-HU"/>
              <a:pPr>
                <a:defRPr/>
              </a:pPr>
              <a:t>2017.11.07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740525" y="6421438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70372D95-4107-4D89-B42B-DA7392C80573}" type="slidenum">
              <a:rPr lang="hu-HU" altLang="hu-HU" sz="1000" smtClean="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rPr>
              <a:pPr algn="r" eaLnBrk="1" hangingPunct="1">
                <a:defRPr/>
              </a:pPr>
              <a:t>‹#›</a:t>
            </a:fld>
            <a:endParaRPr lang="hu-HU" altLang="hu-HU" sz="100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6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chart" Target="../charts/chart6.xml"/><Relationship Id="rId18" Type="http://schemas.openxmlformats.org/officeDocument/2006/relationships/chart" Target="../charts/chart11.xml"/><Relationship Id="rId26" Type="http://schemas.openxmlformats.org/officeDocument/2006/relationships/chart" Target="../charts/chart19.xml"/><Relationship Id="rId3" Type="http://schemas.openxmlformats.org/officeDocument/2006/relationships/tags" Target="../tags/tag2.xml"/><Relationship Id="rId21" Type="http://schemas.openxmlformats.org/officeDocument/2006/relationships/chart" Target="../charts/chart14.xml"/><Relationship Id="rId7" Type="http://schemas.openxmlformats.org/officeDocument/2006/relationships/slideLayout" Target="../slideLayouts/slideLayout5.xml"/><Relationship Id="rId12" Type="http://schemas.openxmlformats.org/officeDocument/2006/relationships/chart" Target="../charts/chart5.xml"/><Relationship Id="rId17" Type="http://schemas.openxmlformats.org/officeDocument/2006/relationships/chart" Target="../charts/chart10.xml"/><Relationship Id="rId25" Type="http://schemas.openxmlformats.org/officeDocument/2006/relationships/chart" Target="../charts/chart18.xml"/><Relationship Id="rId2" Type="http://schemas.openxmlformats.org/officeDocument/2006/relationships/tags" Target="../tags/tag1.xml"/><Relationship Id="rId16" Type="http://schemas.openxmlformats.org/officeDocument/2006/relationships/chart" Target="../charts/chart9.xml"/><Relationship Id="rId20" Type="http://schemas.openxmlformats.org/officeDocument/2006/relationships/chart" Target="../charts/chart13.xml"/><Relationship Id="rId29" Type="http://schemas.openxmlformats.org/officeDocument/2006/relationships/chart" Target="../charts/chart22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chart" Target="../charts/chart4.xml"/><Relationship Id="rId24" Type="http://schemas.openxmlformats.org/officeDocument/2006/relationships/chart" Target="../charts/chart17.xml"/><Relationship Id="rId5" Type="http://schemas.openxmlformats.org/officeDocument/2006/relationships/tags" Target="../tags/tag4.xml"/><Relationship Id="rId15" Type="http://schemas.openxmlformats.org/officeDocument/2006/relationships/chart" Target="../charts/chart8.xml"/><Relationship Id="rId23" Type="http://schemas.openxmlformats.org/officeDocument/2006/relationships/chart" Target="../charts/chart16.xml"/><Relationship Id="rId28" Type="http://schemas.openxmlformats.org/officeDocument/2006/relationships/chart" Target="../charts/chart21.xml"/><Relationship Id="rId10" Type="http://schemas.openxmlformats.org/officeDocument/2006/relationships/image" Target="../media/image4.png"/><Relationship Id="rId19" Type="http://schemas.openxmlformats.org/officeDocument/2006/relationships/chart" Target="../charts/chart12.xml"/><Relationship Id="rId4" Type="http://schemas.openxmlformats.org/officeDocument/2006/relationships/tags" Target="../tags/tag3.xml"/><Relationship Id="rId9" Type="http://schemas.openxmlformats.org/officeDocument/2006/relationships/image" Target="../media/image3.emf"/><Relationship Id="rId14" Type="http://schemas.openxmlformats.org/officeDocument/2006/relationships/chart" Target="../charts/chart7.xml"/><Relationship Id="rId22" Type="http://schemas.openxmlformats.org/officeDocument/2006/relationships/chart" Target="../charts/chart15.xml"/><Relationship Id="rId27" Type="http://schemas.openxmlformats.org/officeDocument/2006/relationships/chart" Target="../charts/chart20.xml"/><Relationship Id="rId30" Type="http://schemas.openxmlformats.org/officeDocument/2006/relationships/chart" Target="../charts/char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ctrTitle"/>
          </p:nvPr>
        </p:nvSpPr>
        <p:spPr>
          <a:xfrm>
            <a:off x="685800" y="3178175"/>
            <a:ext cx="7772400" cy="1470025"/>
          </a:xfrm>
        </p:spPr>
        <p:txBody>
          <a:bodyPr/>
          <a:lstStyle/>
          <a:p>
            <a:pPr eaLnBrk="1" hangingPunct="1"/>
            <a:r>
              <a:rPr lang="en-GB" b="1" dirty="0" smtClean="0"/>
              <a:t>CPESSEC Managers’ </a:t>
            </a:r>
            <a:r>
              <a:rPr lang="hu-HU" b="1" dirty="0" smtClean="0"/>
              <a:t>meeting</a:t>
            </a:r>
            <a:r>
              <a:rPr lang="hu-HU" altLang="hu-HU" b="1" dirty="0" smtClean="0"/>
              <a:t/>
            </a:r>
            <a:br>
              <a:rPr lang="hu-HU" altLang="hu-HU" b="1" dirty="0" smtClean="0"/>
            </a:br>
            <a:r>
              <a:rPr lang="en-US" altLang="hu-HU" b="1" dirty="0"/>
              <a:t>8th </a:t>
            </a:r>
            <a:r>
              <a:rPr lang="en-US" altLang="hu-HU" b="1" dirty="0" smtClean="0"/>
              <a:t>of </a:t>
            </a:r>
            <a:r>
              <a:rPr lang="en-US" altLang="hu-HU" b="1" dirty="0"/>
              <a:t>November 2017</a:t>
            </a:r>
            <a:endParaRPr lang="hu-HU" altLang="hu-HU" b="1" dirty="0" smtClean="0"/>
          </a:p>
        </p:txBody>
      </p:sp>
      <p:sp>
        <p:nvSpPr>
          <p:cNvPr id="5123" name="Subtitle 2"/>
          <p:cNvSpPr>
            <a:spLocks noGrp="1"/>
          </p:cNvSpPr>
          <p:nvPr>
            <p:ph type="subTitle" idx="1"/>
          </p:nvPr>
        </p:nvSpPr>
        <p:spPr>
          <a:xfrm>
            <a:off x="1371600" y="4786313"/>
            <a:ext cx="6400800" cy="1357312"/>
          </a:xfrm>
        </p:spPr>
        <p:txBody>
          <a:bodyPr/>
          <a:lstStyle/>
          <a:p>
            <a:pPr eaLnBrk="1" hangingPunct="1"/>
            <a:r>
              <a:rPr lang="hu-HU" altLang="hu-HU" dirty="0" smtClean="0"/>
              <a:t>dr. Simon Attila István </a:t>
            </a:r>
          </a:p>
          <a:p>
            <a:pPr eaLnBrk="1" hangingPunct="1"/>
            <a:r>
              <a:rPr lang="en-GB" altLang="hu-HU" dirty="0" smtClean="0"/>
              <a:t>Deputy State Secretary for Labour Market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Strategic performance management in </a:t>
            </a:r>
            <a:r>
              <a:rPr lang="hu-HU" sz="3200" b="1" dirty="0" err="1" smtClean="0">
                <a:solidFill>
                  <a:schemeClr val="accent2">
                    <a:lumMod val="50000"/>
                  </a:schemeClr>
                </a:solidFill>
              </a:rPr>
              <a:t>the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hu-HU" sz="3200" b="1" dirty="0" err="1" smtClean="0">
                <a:solidFill>
                  <a:schemeClr val="accent2">
                    <a:lumMod val="50000"/>
                  </a:schemeClr>
                </a:solidFill>
              </a:rPr>
              <a:t>Hungarian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GB" sz="3200" b="1" dirty="0" smtClean="0">
                <a:solidFill>
                  <a:schemeClr val="accent2">
                    <a:lumMod val="50000"/>
                  </a:schemeClr>
                </a:solidFill>
              </a:rPr>
              <a:t>PES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 (NFSZ)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6" name="Tartalom helye 3"/>
          <p:cNvSpPr txBox="1">
            <a:spLocks/>
          </p:cNvSpPr>
          <p:nvPr/>
        </p:nvSpPr>
        <p:spPr>
          <a:xfrm>
            <a:off x="908050" y="25732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endParaRPr lang="hu-HU" sz="2400" b="1" dirty="0" smtClean="0"/>
          </a:p>
          <a:p>
            <a:pPr algn="just" eaLnBrk="1" hangingPunct="1"/>
            <a:r>
              <a:rPr lang="hu-HU" sz="2400" b="1" dirty="0"/>
              <a:t>Management </a:t>
            </a:r>
            <a:r>
              <a:rPr lang="hu-HU" sz="2400" b="1" dirty="0" err="1"/>
              <a:t>by</a:t>
            </a:r>
            <a:r>
              <a:rPr lang="hu-HU" sz="2400" b="1" dirty="0"/>
              <a:t> </a:t>
            </a:r>
            <a:r>
              <a:rPr lang="hu-HU" sz="2400" b="1" dirty="0" err="1" smtClean="0"/>
              <a:t>Objectives</a:t>
            </a:r>
            <a:r>
              <a:rPr lang="hu-HU" sz="2400" b="1" dirty="0" smtClean="0"/>
              <a:t> (MBO) </a:t>
            </a:r>
            <a:r>
              <a:rPr lang="en-US" sz="2400" dirty="0"/>
              <a:t>are issued by the Secretary of State (SS) for employment and education (MNE) in </a:t>
            </a:r>
            <a:r>
              <a:rPr lang="en-US" sz="2400" dirty="0" smtClean="0"/>
              <a:t>office</a:t>
            </a:r>
            <a:r>
              <a:rPr lang="hu-HU" sz="2400" dirty="0" smtClean="0"/>
              <a:t>.</a:t>
            </a:r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/>
              <a:t>At present, </a:t>
            </a:r>
            <a:r>
              <a:rPr lang="hu-HU" sz="2400" b="1" dirty="0" smtClean="0"/>
              <a:t>MBO</a:t>
            </a:r>
            <a:r>
              <a:rPr lang="hu-HU" sz="2400" dirty="0" smtClean="0"/>
              <a:t> </a:t>
            </a:r>
            <a:r>
              <a:rPr lang="en-GB" sz="2400" dirty="0" smtClean="0"/>
              <a:t>covers </a:t>
            </a:r>
            <a:r>
              <a:rPr lang="en-GB" sz="2400" b="1" dirty="0"/>
              <a:t>258 indicators in total for 10 main areas</a:t>
            </a:r>
            <a:r>
              <a:rPr lang="en-GB" sz="2400" dirty="0"/>
              <a:t> (</a:t>
            </a:r>
            <a:r>
              <a:rPr lang="en-GB" sz="2400" i="1" dirty="0"/>
              <a:t>e.g. number of registered job-seekers becoming employed, persons involved in labour market trainings, number of activated persons, number of reported job vacancies; we will present detailed working charts during the visit</a:t>
            </a:r>
            <a:r>
              <a:rPr lang="en-GB" sz="2400" dirty="0"/>
              <a:t>). </a:t>
            </a:r>
            <a:endParaRPr lang="hu-HU" sz="2400" dirty="0"/>
          </a:p>
          <a:p>
            <a:pPr algn="just" eaLnBrk="1" hangingPunct="1"/>
            <a:endParaRPr lang="hu-HU" sz="2400" b="1" dirty="0" smtClean="0"/>
          </a:p>
          <a:p>
            <a:pPr algn="just" eaLnBrk="1" hangingPunct="1"/>
            <a:endParaRPr lang="hu-HU" sz="2400" b="1" dirty="0"/>
          </a:p>
          <a:p>
            <a:pPr algn="just" eaLnBrk="1" hangingPunct="1"/>
            <a:endParaRPr lang="hu-HU" sz="2400" dirty="0"/>
          </a:p>
          <a:p>
            <a:pPr algn="just" eaLnBrk="1" hangingPunct="1"/>
            <a:endParaRPr lang="hu-HU" sz="2400" dirty="0" smtClean="0"/>
          </a:p>
          <a:p>
            <a:pPr marL="0" indent="0" algn="just" eaLnBrk="1" hangingPunct="1">
              <a:buNone/>
            </a:pP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61204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Design of operational </a:t>
            </a:r>
            <a:r>
              <a:rPr lang="en-GB" sz="3200" b="1" dirty="0" smtClean="0">
                <a:solidFill>
                  <a:schemeClr val="accent2">
                    <a:lumMod val="50000"/>
                  </a:schemeClr>
                </a:solidFill>
              </a:rPr>
              <a:t>processes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…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US" altLang="hu-HU" sz="2400" dirty="0" smtClean="0"/>
              <a:t>The </a:t>
            </a:r>
            <a:r>
              <a:rPr lang="en-US" altLang="hu-HU" sz="2400" b="1" dirty="0"/>
              <a:t>Development Strategy for Public Administration 2014–2020 </a:t>
            </a:r>
            <a:r>
              <a:rPr lang="en-US" altLang="hu-HU" sz="2400" dirty="0"/>
              <a:t>describes the principles of the development and operation of Hungarian regional public administration in details</a:t>
            </a:r>
            <a:r>
              <a:rPr lang="en-US" altLang="hu-HU" sz="2400" dirty="0" smtClean="0"/>
              <a:t>.</a:t>
            </a:r>
            <a:endParaRPr lang="hu-HU" altLang="hu-HU" sz="2400" dirty="0" smtClean="0"/>
          </a:p>
          <a:p>
            <a:pPr algn="just" eaLnBrk="1" hangingPunct="1"/>
            <a:r>
              <a:rPr lang="en-GB" sz="2400" dirty="0" smtClean="0"/>
              <a:t>The </a:t>
            </a:r>
            <a:r>
              <a:rPr lang="en-GB" sz="2400" b="1" dirty="0"/>
              <a:t>rules of procedures </a:t>
            </a:r>
            <a:r>
              <a:rPr lang="en-GB" sz="2400" dirty="0"/>
              <a:t>are prepared </a:t>
            </a:r>
            <a:r>
              <a:rPr lang="en-GB" sz="2400" b="1" dirty="0"/>
              <a:t>by </a:t>
            </a:r>
            <a:r>
              <a:rPr lang="en-GB" sz="2400" b="1" dirty="0" smtClean="0"/>
              <a:t>M</a:t>
            </a:r>
            <a:r>
              <a:rPr lang="hu-HU" sz="2400" b="1" dirty="0" err="1" smtClean="0"/>
              <a:t>inistry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for</a:t>
            </a:r>
            <a:r>
              <a:rPr lang="hu-HU" sz="2400" b="1" dirty="0" smtClean="0"/>
              <a:t> </a:t>
            </a:r>
            <a:r>
              <a:rPr lang="en-GB" sz="2400" b="1" dirty="0" smtClean="0"/>
              <a:t>N</a:t>
            </a:r>
            <a:r>
              <a:rPr lang="hu-HU" sz="2400" b="1" dirty="0" err="1" smtClean="0"/>
              <a:t>ational</a:t>
            </a:r>
            <a:r>
              <a:rPr lang="hu-HU" sz="2400" b="1" dirty="0" smtClean="0"/>
              <a:t> </a:t>
            </a:r>
            <a:r>
              <a:rPr lang="en-GB" sz="2400" b="1" dirty="0" smtClean="0"/>
              <a:t>E</a:t>
            </a:r>
            <a:r>
              <a:rPr lang="hu-HU" sz="2400" b="1" dirty="0" err="1" smtClean="0"/>
              <a:t>conomy</a:t>
            </a:r>
            <a:r>
              <a:rPr lang="en-GB" sz="2400" dirty="0" smtClean="0"/>
              <a:t> </a:t>
            </a:r>
            <a:r>
              <a:rPr lang="en-GB" sz="2400" dirty="0"/>
              <a:t>and </a:t>
            </a:r>
            <a:r>
              <a:rPr lang="hu-HU" sz="2400" b="1" dirty="0" err="1" smtClean="0"/>
              <a:t>the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public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work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programme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plan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by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the</a:t>
            </a:r>
            <a:r>
              <a:rPr lang="hu-HU" sz="2400" b="1" dirty="0" smtClean="0"/>
              <a:t> </a:t>
            </a:r>
            <a:r>
              <a:rPr lang="en-GB" sz="2400" b="1" dirty="0" smtClean="0"/>
              <a:t>M</a:t>
            </a:r>
            <a:r>
              <a:rPr lang="hu-HU" sz="2400" b="1" dirty="0" err="1" smtClean="0"/>
              <a:t>inistry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for</a:t>
            </a:r>
            <a:r>
              <a:rPr lang="hu-HU" sz="2400" b="1" dirty="0" smtClean="0"/>
              <a:t> </a:t>
            </a:r>
            <a:r>
              <a:rPr lang="en-GB" sz="2400" b="1" dirty="0" smtClean="0"/>
              <a:t>I</a:t>
            </a:r>
            <a:r>
              <a:rPr lang="hu-HU" sz="2400" b="1" dirty="0" err="1" smtClean="0"/>
              <a:t>nterior</a:t>
            </a:r>
            <a:r>
              <a:rPr lang="en-GB" sz="2400" dirty="0" smtClean="0"/>
              <a:t>, </a:t>
            </a:r>
            <a:r>
              <a:rPr lang="en-GB" sz="2400" dirty="0"/>
              <a:t>and then sent to the </a:t>
            </a:r>
            <a:r>
              <a:rPr lang="en-GB" sz="2400" dirty="0" smtClean="0"/>
              <a:t>counties</a:t>
            </a:r>
            <a:r>
              <a:rPr lang="hu-HU" sz="2400" dirty="0" smtClean="0"/>
              <a:t>.</a:t>
            </a:r>
          </a:p>
          <a:p>
            <a:pPr algn="just" eaLnBrk="1" hangingPunct="1"/>
            <a:r>
              <a:rPr lang="en-US" altLang="hu-HU" sz="2400" dirty="0" smtClean="0"/>
              <a:t>Regional </a:t>
            </a:r>
            <a:r>
              <a:rPr lang="en-US" altLang="hu-HU" sz="2400" dirty="0"/>
              <a:t>public administration is </a:t>
            </a:r>
            <a:r>
              <a:rPr lang="en-US" altLang="hu-HU" sz="2400" b="1" dirty="0"/>
              <a:t>controlled by </a:t>
            </a:r>
            <a:r>
              <a:rPr lang="hu-HU" altLang="hu-HU" sz="2400" b="1" dirty="0" err="1" smtClean="0"/>
              <a:t>the</a:t>
            </a:r>
            <a:r>
              <a:rPr lang="hu-HU" altLang="hu-HU" sz="2400" b="1" dirty="0" smtClean="0"/>
              <a:t> </a:t>
            </a:r>
            <a:r>
              <a:rPr lang="en-US" altLang="hu-HU" sz="2400" b="1" dirty="0" smtClean="0"/>
              <a:t>P</a:t>
            </a:r>
            <a:r>
              <a:rPr lang="hu-HU" altLang="hu-HU" sz="2400" b="1" dirty="0" err="1" smtClean="0"/>
              <a:t>rime</a:t>
            </a:r>
            <a:r>
              <a:rPr lang="hu-HU" altLang="hu-HU" sz="2400" b="1" dirty="0" smtClean="0"/>
              <a:t> </a:t>
            </a:r>
            <a:r>
              <a:rPr lang="en-US" altLang="hu-HU" sz="2400" b="1" dirty="0" smtClean="0"/>
              <a:t>M</a:t>
            </a:r>
            <a:r>
              <a:rPr lang="hu-HU" altLang="hu-HU" sz="2400" b="1" dirty="0" err="1" smtClean="0"/>
              <a:t>inister</a:t>
            </a:r>
            <a:r>
              <a:rPr lang="hu-HU" altLang="hu-HU" sz="2400" b="1" dirty="0" smtClean="0"/>
              <a:t>’s Office</a:t>
            </a:r>
            <a:r>
              <a:rPr lang="en-US" altLang="hu-HU" sz="2400" dirty="0" smtClean="0"/>
              <a:t>. 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5675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Design of operational </a:t>
            </a:r>
            <a:r>
              <a:rPr lang="en-GB" sz="3200" b="1" dirty="0" smtClean="0">
                <a:solidFill>
                  <a:schemeClr val="accent2">
                    <a:lumMod val="50000"/>
                  </a:schemeClr>
                </a:solidFill>
              </a:rPr>
              <a:t>processes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…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 smtClean="0"/>
              <a:t>As </a:t>
            </a:r>
            <a:r>
              <a:rPr lang="en-GB" sz="2400" dirty="0"/>
              <a:t>for </a:t>
            </a:r>
            <a:r>
              <a:rPr lang="en-GB" sz="2400" b="1" dirty="0"/>
              <a:t>IT</a:t>
            </a:r>
            <a:r>
              <a:rPr lang="en-GB" sz="2400" dirty="0"/>
              <a:t>, the PES infrastructure is put in place by </a:t>
            </a:r>
            <a:r>
              <a:rPr lang="hu-HU" sz="2400" b="1" dirty="0" smtClean="0"/>
              <a:t>a </a:t>
            </a:r>
            <a:r>
              <a:rPr lang="hu-HU" sz="2400" b="1" dirty="0" err="1" smtClean="0"/>
              <a:t>state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owned</a:t>
            </a:r>
            <a:r>
              <a:rPr lang="hu-HU" sz="2400" b="1" dirty="0" smtClean="0"/>
              <a:t> limited </a:t>
            </a:r>
            <a:r>
              <a:rPr lang="hu-HU" sz="2400" b="1" dirty="0" err="1" smtClean="0"/>
              <a:t>company</a:t>
            </a:r>
            <a:r>
              <a:rPr lang="hu-HU" sz="2400" b="1" dirty="0" smtClean="0"/>
              <a:t> </a:t>
            </a:r>
            <a:r>
              <a:rPr lang="hu-HU" sz="2400" dirty="0" smtClean="0"/>
              <a:t>(</a:t>
            </a:r>
            <a:r>
              <a:rPr lang="en-GB" sz="2400" dirty="0" smtClean="0"/>
              <a:t>N</a:t>
            </a:r>
            <a:r>
              <a:rPr lang="hu-HU" sz="2400" dirty="0" err="1" smtClean="0"/>
              <a:t>ational</a:t>
            </a:r>
            <a:r>
              <a:rPr lang="hu-HU" sz="2400" dirty="0" smtClean="0"/>
              <a:t> </a:t>
            </a:r>
            <a:r>
              <a:rPr lang="en-GB" sz="2400" dirty="0" smtClean="0"/>
              <a:t>I</a:t>
            </a:r>
            <a:r>
              <a:rPr lang="hu-HU" sz="2400" dirty="0" err="1" smtClean="0"/>
              <a:t>nfocommunication</a:t>
            </a:r>
            <a:r>
              <a:rPr lang="hu-HU" sz="2400" dirty="0" smtClean="0"/>
              <a:t> Service - NISZ)</a:t>
            </a:r>
            <a:r>
              <a:rPr lang="en-US" altLang="hu-HU" sz="2400" dirty="0" smtClean="0"/>
              <a:t>.</a:t>
            </a:r>
            <a:endParaRPr lang="hu-HU" alt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r>
              <a:rPr lang="en-US" altLang="hu-HU" sz="2400" dirty="0"/>
              <a:t>For all the active </a:t>
            </a:r>
            <a:r>
              <a:rPr lang="en-US" altLang="hu-HU" sz="2400" dirty="0" err="1" smtClean="0"/>
              <a:t>meas</a:t>
            </a:r>
            <a:r>
              <a:rPr lang="hu-HU" altLang="hu-HU" sz="2400" dirty="0" err="1" smtClean="0"/>
              <a:t>ures</a:t>
            </a:r>
            <a:r>
              <a:rPr lang="en-US" altLang="hu-HU" sz="2400" dirty="0" smtClean="0"/>
              <a:t>, </a:t>
            </a:r>
            <a:r>
              <a:rPr lang="en-US" altLang="hu-HU" sz="2400" dirty="0"/>
              <a:t>issued and valid </a:t>
            </a:r>
            <a:r>
              <a:rPr lang="en-US" altLang="hu-HU" sz="2400" b="1" dirty="0"/>
              <a:t>rules of procedures</a:t>
            </a:r>
            <a:r>
              <a:rPr lang="en-US" altLang="hu-HU" sz="2400" dirty="0"/>
              <a:t> are available. </a:t>
            </a:r>
            <a:endParaRPr lang="hu-HU" alt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r>
              <a:rPr lang="en-GB" sz="2400" b="1" dirty="0"/>
              <a:t>Partner satisfaction monitoring </a:t>
            </a:r>
            <a:r>
              <a:rPr lang="en-GB" sz="2400" dirty="0"/>
              <a:t>(workers, employers, jobseekers) has been functioning continuously since 2003, and covers the entire district level. 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418976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Design of operational </a:t>
            </a:r>
            <a:r>
              <a:rPr lang="en-GB" sz="3200" b="1" dirty="0" smtClean="0">
                <a:solidFill>
                  <a:schemeClr val="accent2">
                    <a:lumMod val="50000"/>
                  </a:schemeClr>
                </a:solidFill>
              </a:rPr>
              <a:t>processes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…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/>
              <a:t>The weightiest channel is </a:t>
            </a:r>
            <a:r>
              <a:rPr lang="en-GB" sz="2400" b="1" dirty="0"/>
              <a:t>still the personal flow of communication</a:t>
            </a:r>
            <a:r>
              <a:rPr lang="en-GB" sz="2400" dirty="0"/>
              <a:t>, though certain services (like notification of job data, electronic contacts, career information services) are (also) available online</a:t>
            </a:r>
            <a:r>
              <a:rPr lang="en-GB" sz="2400" dirty="0" smtClean="0"/>
              <a:t>.</a:t>
            </a:r>
            <a:endParaRPr lang="hu-HU" sz="2400" dirty="0" smtClean="0"/>
          </a:p>
          <a:p>
            <a:pPr marL="0" indent="0" algn="just" eaLnBrk="1" hangingPunct="1">
              <a:buNone/>
            </a:pPr>
            <a:endParaRPr lang="hu-HU" sz="2400" dirty="0"/>
          </a:p>
          <a:p>
            <a:pPr algn="just" eaLnBrk="1" hangingPunct="1"/>
            <a:r>
              <a:rPr lang="en-US" sz="2400" b="1" dirty="0"/>
              <a:t>Online channels are planned to be developed </a:t>
            </a:r>
            <a:r>
              <a:rPr lang="en-US" sz="2400" dirty="0"/>
              <a:t>within the framework of the EDIOP 511 </a:t>
            </a:r>
            <a:r>
              <a:rPr lang="en-US" sz="2400" dirty="0" smtClean="0"/>
              <a:t>measure</a:t>
            </a:r>
            <a:r>
              <a:rPr lang="hu-HU" sz="2400" dirty="0" smtClean="0"/>
              <a:t> (EU </a:t>
            </a:r>
            <a:r>
              <a:rPr lang="hu-HU" sz="2400" dirty="0" err="1" smtClean="0"/>
              <a:t>financed</a:t>
            </a:r>
            <a:r>
              <a:rPr lang="hu-HU" sz="2400" dirty="0" smtClean="0"/>
              <a:t>)</a:t>
            </a:r>
            <a:r>
              <a:rPr lang="en-US" sz="2400" dirty="0" smtClean="0"/>
              <a:t>. </a:t>
            </a:r>
            <a:endParaRPr lang="hu-HU" sz="2400" dirty="0" smtClean="0"/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US" sz="2400" dirty="0" smtClean="0"/>
              <a:t>Government </a:t>
            </a:r>
            <a:r>
              <a:rPr lang="en-US" sz="2400" dirty="0"/>
              <a:t>Decree </a:t>
            </a:r>
            <a:r>
              <a:rPr lang="en-US" sz="2400" dirty="0" smtClean="0"/>
              <a:t>has </a:t>
            </a:r>
            <a:r>
              <a:rPr lang="en-US" sz="2400" dirty="0"/>
              <a:t>ordered the establishment of a </a:t>
            </a:r>
            <a:r>
              <a:rPr lang="en-US" sz="2400" b="1" dirty="0"/>
              <a:t>competence-based national </a:t>
            </a:r>
            <a:r>
              <a:rPr lang="hu-HU" sz="2400" b="1" dirty="0" err="1" smtClean="0"/>
              <a:t>placement</a:t>
            </a:r>
            <a:r>
              <a:rPr lang="hu-HU" sz="2400" b="1" dirty="0" smtClean="0"/>
              <a:t> </a:t>
            </a:r>
            <a:r>
              <a:rPr lang="en-US" sz="2400" b="1" dirty="0" smtClean="0"/>
              <a:t>system</a:t>
            </a:r>
            <a:r>
              <a:rPr lang="en-GB" sz="2400" dirty="0" smtClean="0"/>
              <a:t>. 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171904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Sustainable activation and management of transition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1" hangingPunct="1">
              <a:buNone/>
            </a:pPr>
            <a:endParaRPr lang="hu-HU" altLang="hu-HU" sz="2400" dirty="0" smtClean="0"/>
          </a:p>
        </p:txBody>
      </p:sp>
      <p:sp>
        <p:nvSpPr>
          <p:cNvPr id="5" name="Content Placeholder 4"/>
          <p:cNvSpPr txBox="1">
            <a:spLocks/>
          </p:cNvSpPr>
          <p:nvPr/>
        </p:nvSpPr>
        <p:spPr>
          <a:xfrm>
            <a:off x="938213" y="22860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US" altLang="hu-HU" sz="2400" dirty="0"/>
              <a:t>The profiling system introduced in 2016 is </a:t>
            </a:r>
            <a:r>
              <a:rPr lang="en-US" altLang="hu-HU" sz="2400" dirty="0" smtClean="0"/>
              <a:t>essentially based </a:t>
            </a:r>
            <a:r>
              <a:rPr lang="en-US" altLang="hu-HU" sz="2400" dirty="0"/>
              <a:t>on the </a:t>
            </a:r>
            <a:r>
              <a:rPr lang="en-US" altLang="hu-HU" sz="2400" b="1" dirty="0"/>
              <a:t>objective characteristics </a:t>
            </a:r>
            <a:r>
              <a:rPr lang="en-US" altLang="hu-HU" sz="2400" dirty="0"/>
              <a:t>of the </a:t>
            </a:r>
            <a:r>
              <a:rPr lang="en-US" altLang="hu-HU" sz="2400" dirty="0" smtClean="0"/>
              <a:t>individual</a:t>
            </a:r>
            <a:endParaRPr lang="hu-HU" alt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r>
              <a:rPr lang="hu-HU" altLang="hu-HU" sz="2400" dirty="0" err="1" smtClean="0"/>
              <a:t>Yet</a:t>
            </a:r>
            <a:r>
              <a:rPr lang="hu-HU" altLang="hu-HU" sz="2400" dirty="0" smtClean="0"/>
              <a:t>,</a:t>
            </a:r>
            <a:r>
              <a:rPr lang="en-US" altLang="hu-HU" sz="2400" dirty="0" smtClean="0"/>
              <a:t> </a:t>
            </a:r>
            <a:r>
              <a:rPr lang="en-US" altLang="hu-HU" sz="2400" b="1" dirty="0"/>
              <a:t>planning</a:t>
            </a:r>
            <a:r>
              <a:rPr lang="en-US" altLang="hu-HU" sz="2400" dirty="0"/>
              <a:t> based on </a:t>
            </a:r>
            <a:r>
              <a:rPr lang="en-US" altLang="hu-HU" sz="2400" dirty="0" err="1"/>
              <a:t>i</a:t>
            </a:r>
            <a:r>
              <a:rPr lang="en-US" altLang="hu-HU" sz="2400" dirty="0"/>
              <a:t>) </a:t>
            </a:r>
            <a:r>
              <a:rPr lang="en-US" altLang="hu-HU" sz="2400" b="1" dirty="0"/>
              <a:t>public employment </a:t>
            </a:r>
            <a:r>
              <a:rPr lang="en-US" altLang="hu-HU" sz="2400" dirty="0"/>
              <a:t>and ii) the </a:t>
            </a:r>
            <a:r>
              <a:rPr lang="en-US" altLang="hu-HU" sz="2400" b="1" dirty="0" smtClean="0"/>
              <a:t>O</a:t>
            </a:r>
            <a:r>
              <a:rPr lang="hu-HU" altLang="hu-HU" sz="2400" b="1" dirty="0" err="1" smtClean="0"/>
              <a:t>perative</a:t>
            </a:r>
            <a:r>
              <a:rPr lang="hu-HU" altLang="hu-HU" sz="2400" b="1" dirty="0" smtClean="0"/>
              <a:t> </a:t>
            </a:r>
            <a:r>
              <a:rPr lang="en-US" altLang="hu-HU" sz="2400" b="1" dirty="0" smtClean="0"/>
              <a:t>P</a:t>
            </a:r>
            <a:r>
              <a:rPr lang="hu-HU" altLang="hu-HU" sz="2400" b="1" dirty="0" err="1" smtClean="0"/>
              <a:t>rogramme</a:t>
            </a:r>
            <a:r>
              <a:rPr lang="en-US" altLang="hu-HU" sz="2400" dirty="0" smtClean="0"/>
              <a:t> </a:t>
            </a:r>
            <a:r>
              <a:rPr lang="en-US" altLang="hu-HU" sz="2400" dirty="0"/>
              <a:t>target groups </a:t>
            </a:r>
            <a:r>
              <a:rPr lang="hu-HU" altLang="hu-HU" sz="2400" dirty="0" smtClean="0"/>
              <a:t>is </a:t>
            </a:r>
            <a:r>
              <a:rPr lang="hu-HU" altLang="hu-HU" sz="2400" dirty="0" err="1" smtClean="0"/>
              <a:t>still</a:t>
            </a:r>
            <a:r>
              <a:rPr lang="hu-HU" altLang="hu-HU" sz="2400" dirty="0" smtClean="0"/>
              <a:t> </a:t>
            </a:r>
            <a:r>
              <a:rPr lang="en-US" altLang="hu-HU" sz="2400" dirty="0" smtClean="0"/>
              <a:t>decisive</a:t>
            </a:r>
            <a:endParaRPr lang="hu-HU" alt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r>
              <a:rPr lang="en-US" altLang="hu-HU" sz="2400" dirty="0"/>
              <a:t>In 2017, the </a:t>
            </a:r>
            <a:r>
              <a:rPr lang="en-US" altLang="hu-HU" sz="2400" b="1" dirty="0"/>
              <a:t>further development of profiling </a:t>
            </a:r>
            <a:r>
              <a:rPr lang="en-US" altLang="hu-HU" sz="2400" dirty="0"/>
              <a:t>will be acquired within the framework of EDIOP </a:t>
            </a:r>
            <a:r>
              <a:rPr lang="en-US" altLang="hu-HU" sz="2400" dirty="0" smtClean="0"/>
              <a:t>511</a:t>
            </a:r>
            <a:r>
              <a:rPr lang="hu-HU" altLang="hu-HU" sz="2400" dirty="0" smtClean="0"/>
              <a:t> (EU)</a:t>
            </a:r>
            <a:r>
              <a:rPr lang="en-US" altLang="hu-HU" sz="2400" dirty="0" smtClean="0"/>
              <a:t>, </a:t>
            </a:r>
            <a:r>
              <a:rPr lang="hu-HU" altLang="hu-HU" sz="2400" dirty="0" err="1" smtClean="0"/>
              <a:t>also</a:t>
            </a:r>
            <a:r>
              <a:rPr lang="hu-HU" altLang="hu-HU" sz="2400" dirty="0" smtClean="0"/>
              <a:t> </a:t>
            </a:r>
            <a:r>
              <a:rPr lang="hu-HU" altLang="hu-HU" sz="2400" dirty="0" err="1" smtClean="0"/>
              <a:t>cooperation</a:t>
            </a:r>
            <a:r>
              <a:rPr lang="hu-HU" altLang="hu-HU" sz="2400" dirty="0" smtClean="0"/>
              <a:t> </a:t>
            </a:r>
            <a:r>
              <a:rPr lang="en-GB" sz="2400" dirty="0"/>
              <a:t>with the </a:t>
            </a:r>
            <a:r>
              <a:rPr lang="en-GB" sz="2400" b="1" dirty="0"/>
              <a:t>World Bank </a:t>
            </a:r>
            <a:r>
              <a:rPr lang="en-GB" sz="2400" dirty="0"/>
              <a:t>and the </a:t>
            </a:r>
            <a:r>
              <a:rPr lang="en-GB" sz="2400" b="1" dirty="0"/>
              <a:t>Korean Government</a:t>
            </a:r>
            <a:r>
              <a:rPr lang="en-GB" sz="2400" dirty="0"/>
              <a:t> (</a:t>
            </a:r>
            <a:r>
              <a:rPr lang="en-GB" sz="2400" b="1" dirty="0"/>
              <a:t>Knowledge Sharing Program</a:t>
            </a:r>
            <a:r>
              <a:rPr lang="en-GB" sz="2400" dirty="0"/>
              <a:t>) </a:t>
            </a:r>
            <a:r>
              <a:rPr lang="en-US" altLang="hu-HU" sz="2400" dirty="0" smtClean="0"/>
              <a:t>. 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88883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Sustainable activation and management of transition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1" hangingPunct="1">
              <a:buNone/>
            </a:pPr>
            <a:endParaRPr lang="hu-HU" altLang="hu-HU" sz="2400" dirty="0" smtClean="0"/>
          </a:p>
        </p:txBody>
      </p:sp>
      <p:sp>
        <p:nvSpPr>
          <p:cNvPr id="5" name="Content Placeholder 4"/>
          <p:cNvSpPr txBox="1">
            <a:spLocks/>
          </p:cNvSpPr>
          <p:nvPr/>
        </p:nvSpPr>
        <p:spPr>
          <a:xfrm>
            <a:off x="938213" y="22860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/>
              <a:t>It is still a goal that (</a:t>
            </a:r>
            <a:r>
              <a:rPr lang="en-GB" sz="2400" dirty="0" err="1"/>
              <a:t>i</a:t>
            </a:r>
            <a:r>
              <a:rPr lang="en-GB" sz="2400" dirty="0"/>
              <a:t>) young people and (ii) people after vocational education </a:t>
            </a:r>
            <a:r>
              <a:rPr lang="en-GB" sz="2400" b="1" dirty="0"/>
              <a:t>should not enter public employment</a:t>
            </a:r>
            <a:r>
              <a:rPr lang="en-GB" sz="2400" dirty="0"/>
              <a:t>. </a:t>
            </a:r>
            <a:endParaRPr lang="hu-HU" sz="2400" dirty="0" smtClean="0"/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US" altLang="hu-HU" sz="2400" dirty="0"/>
              <a:t>The Youth Guarantee </a:t>
            </a:r>
            <a:r>
              <a:rPr lang="en-US" altLang="hu-HU" sz="2400" dirty="0" smtClean="0"/>
              <a:t>System</a:t>
            </a:r>
            <a:r>
              <a:rPr lang="hu-HU" altLang="hu-HU" sz="2400" dirty="0" smtClean="0"/>
              <a:t>:</a:t>
            </a:r>
            <a:r>
              <a:rPr lang="en-US" altLang="hu-HU" sz="2400" dirty="0" smtClean="0"/>
              <a:t> </a:t>
            </a:r>
            <a:r>
              <a:rPr lang="hu-HU" altLang="hu-HU" sz="2400" dirty="0" smtClean="0"/>
              <a:t>a</a:t>
            </a:r>
            <a:r>
              <a:rPr lang="en-US" altLang="hu-HU" sz="2400" dirty="0" err="1" smtClean="0"/>
              <a:t>ny</a:t>
            </a:r>
            <a:r>
              <a:rPr lang="en-US" altLang="hu-HU" sz="2400" dirty="0" smtClean="0"/>
              <a:t> </a:t>
            </a:r>
            <a:r>
              <a:rPr lang="en-US" altLang="hu-HU" sz="2400" dirty="0"/>
              <a:t>person under 25 included in the PES registry </a:t>
            </a:r>
            <a:r>
              <a:rPr lang="en-US" altLang="hu-HU" sz="2400" b="1" dirty="0"/>
              <a:t>is advised on </a:t>
            </a:r>
            <a:r>
              <a:rPr lang="en-US" altLang="hu-HU" sz="2400" b="1" dirty="0" smtClean="0"/>
              <a:t>available opportunities</a:t>
            </a:r>
            <a:r>
              <a:rPr lang="en-US" altLang="hu-HU" sz="2400" dirty="0" smtClean="0"/>
              <a:t> (</a:t>
            </a:r>
            <a:r>
              <a:rPr lang="en-US" altLang="hu-HU" sz="2400" dirty="0"/>
              <a:t>not only the ones implemented by PES), whereas school-leaving students receive the associated information at homeroom classes. 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155364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Sustainable activation and management of transition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1" hangingPunct="1">
              <a:buNone/>
            </a:pPr>
            <a:endParaRPr lang="hu-HU" altLang="hu-HU" sz="2400" dirty="0" smtClean="0"/>
          </a:p>
        </p:txBody>
      </p:sp>
      <p:sp>
        <p:nvSpPr>
          <p:cNvPr id="5" name="Content Placeholder 4"/>
          <p:cNvSpPr txBox="1">
            <a:spLocks/>
          </p:cNvSpPr>
          <p:nvPr/>
        </p:nvSpPr>
        <p:spPr>
          <a:xfrm>
            <a:off x="938213" y="22860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endParaRPr lang="hu-HU" altLang="hu-HU" sz="2400" dirty="0" smtClean="0"/>
          </a:p>
          <a:p>
            <a:pPr algn="just" eaLnBrk="1" hangingPunct="1"/>
            <a:r>
              <a:rPr lang="en-US" altLang="hu-HU" sz="2400" dirty="0" smtClean="0"/>
              <a:t>Currently </a:t>
            </a:r>
            <a:r>
              <a:rPr lang="en-US" altLang="hu-HU" sz="2400" dirty="0"/>
              <a:t>PES performs </a:t>
            </a:r>
            <a:r>
              <a:rPr lang="en-US" altLang="hu-HU" sz="2400" b="1" dirty="0"/>
              <a:t>no other preventive activities</a:t>
            </a:r>
            <a:r>
              <a:rPr lang="hu-HU" altLang="hu-HU" sz="2400" dirty="0"/>
              <a:t>, </a:t>
            </a:r>
            <a:r>
              <a:rPr lang="hu-HU" altLang="hu-HU" sz="2400" dirty="0" err="1"/>
              <a:t>though</a:t>
            </a:r>
            <a:r>
              <a:rPr lang="hu-HU" altLang="hu-HU" sz="2400" dirty="0"/>
              <a:t> </a:t>
            </a:r>
            <a:r>
              <a:rPr lang="en-GB" sz="2400" dirty="0" smtClean="0"/>
              <a:t>Employment </a:t>
            </a:r>
            <a:r>
              <a:rPr lang="en-GB" sz="2400" dirty="0"/>
              <a:t>Act has managed the concept of preventive measures since 1991. </a:t>
            </a:r>
            <a:endParaRPr 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r>
              <a:rPr lang="en-GB" sz="2400" dirty="0" smtClean="0"/>
              <a:t>Internal and </a:t>
            </a:r>
            <a:r>
              <a:rPr lang="en-GB" sz="2400" dirty="0"/>
              <a:t>external services </a:t>
            </a:r>
            <a:r>
              <a:rPr lang="hu-HU" sz="2400" dirty="0" err="1" smtClean="0"/>
              <a:t>are</a:t>
            </a:r>
            <a:r>
              <a:rPr lang="hu-HU" sz="2400" dirty="0" smtClean="0"/>
              <a:t> </a:t>
            </a:r>
            <a:r>
              <a:rPr lang="en-GB" sz="2400" dirty="0" smtClean="0"/>
              <a:t>combined</a:t>
            </a:r>
            <a:r>
              <a:rPr lang="hu-HU" sz="2400" dirty="0" smtClean="0"/>
              <a:t>, </a:t>
            </a:r>
            <a:r>
              <a:rPr lang="en-US" sz="2400" dirty="0" smtClean="0"/>
              <a:t>full-scale </a:t>
            </a:r>
            <a:r>
              <a:rPr lang="en-US" sz="2400" dirty="0"/>
              <a:t>outsourcing of </a:t>
            </a:r>
            <a:r>
              <a:rPr lang="en-US" sz="2400" dirty="0" smtClean="0"/>
              <a:t>services/counseling</a:t>
            </a:r>
            <a:r>
              <a:rPr lang="hu-HU" sz="2400" dirty="0" smtClean="0"/>
              <a:t> is </a:t>
            </a:r>
            <a:r>
              <a:rPr lang="hu-HU" sz="2400" dirty="0" err="1" smtClean="0"/>
              <a:t>not</a:t>
            </a:r>
            <a:r>
              <a:rPr lang="hu-HU" sz="2400" dirty="0" smtClean="0"/>
              <a:t> </a:t>
            </a:r>
            <a:r>
              <a:rPr lang="hu-HU" sz="2400" dirty="0" err="1" smtClean="0"/>
              <a:t>supported</a:t>
            </a:r>
            <a:endParaRPr 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30047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Relations to employer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US" altLang="hu-HU" sz="2400" dirty="0" smtClean="0"/>
              <a:t>The elaboration </a:t>
            </a:r>
            <a:r>
              <a:rPr lang="en-US" altLang="hu-HU" sz="2400" dirty="0"/>
              <a:t>of a </a:t>
            </a:r>
            <a:r>
              <a:rPr lang="en-US" altLang="hu-HU" sz="2400" b="1" dirty="0"/>
              <a:t>national concept </a:t>
            </a:r>
            <a:r>
              <a:rPr lang="en-US" altLang="hu-HU" sz="2400" b="1" dirty="0" smtClean="0"/>
              <a:t>has </a:t>
            </a:r>
            <a:r>
              <a:rPr lang="en-US" altLang="hu-HU" sz="2400" b="1" dirty="0"/>
              <a:t>been on the agenda</a:t>
            </a:r>
            <a:r>
              <a:rPr lang="en-US" altLang="hu-HU" sz="2400" dirty="0"/>
              <a:t>, </a:t>
            </a:r>
            <a:r>
              <a:rPr lang="hu-HU" altLang="hu-HU" sz="2400" dirty="0" err="1" smtClean="0"/>
              <a:t>however</a:t>
            </a:r>
            <a:r>
              <a:rPr lang="hu-HU" altLang="hu-HU" sz="2400" dirty="0" smtClean="0"/>
              <a:t> </a:t>
            </a:r>
            <a:r>
              <a:rPr lang="en-US" altLang="hu-HU" sz="2400" dirty="0" smtClean="0"/>
              <a:t>at </a:t>
            </a:r>
            <a:r>
              <a:rPr lang="en-US" altLang="hu-HU" sz="2400" dirty="0"/>
              <a:t>present resources are dedicated to OP programming and the operation of the public employment system. </a:t>
            </a:r>
            <a:endParaRPr lang="hu-HU" altLang="hu-HU" sz="2400" dirty="0" smtClean="0"/>
          </a:p>
          <a:p>
            <a:pPr algn="just" eaLnBrk="1" hangingPunct="1"/>
            <a:endParaRPr lang="hu-HU" altLang="hu-HU" sz="2400" dirty="0"/>
          </a:p>
          <a:p>
            <a:pPr algn="just" eaLnBrk="1" hangingPunct="1"/>
            <a:r>
              <a:rPr lang="en-GB" sz="2400" dirty="0" smtClean="0"/>
              <a:t>The majority </a:t>
            </a:r>
            <a:r>
              <a:rPr lang="en-GB" sz="2400" dirty="0"/>
              <a:t>of vacant positions </a:t>
            </a:r>
            <a:r>
              <a:rPr lang="en-GB" sz="2400" dirty="0" smtClean="0"/>
              <a:t>is </a:t>
            </a:r>
            <a:r>
              <a:rPr lang="en-GB" sz="2400" dirty="0"/>
              <a:t>associated with public employment, and market positions without support account for 10% of the offered </a:t>
            </a:r>
            <a:r>
              <a:rPr lang="en-GB" sz="2400" dirty="0" smtClean="0"/>
              <a:t>jobs</a:t>
            </a:r>
            <a:r>
              <a:rPr lang="hu-HU" sz="2400" dirty="0" smtClean="0"/>
              <a:t>.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16786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Relations to employer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US" sz="2400" dirty="0" smtClean="0"/>
              <a:t>A </a:t>
            </a:r>
            <a:r>
              <a:rPr lang="en-US" sz="2400" dirty="0"/>
              <a:t>new scheme will be launched for exploring jobs within the framework of EDIOP 536, including the renewal of the recruitment system</a:t>
            </a:r>
            <a:r>
              <a:rPr lang="hu-HU" sz="2400" dirty="0" smtClean="0"/>
              <a:t>.</a:t>
            </a:r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 smtClean="0"/>
              <a:t>Certain </a:t>
            </a:r>
            <a:r>
              <a:rPr lang="en-GB" sz="2400" dirty="0"/>
              <a:t>regions of the country show permanent shortage of qualified </a:t>
            </a:r>
            <a:r>
              <a:rPr lang="en-GB" sz="2400" dirty="0" smtClean="0"/>
              <a:t>workforce</a:t>
            </a:r>
            <a:r>
              <a:rPr lang="hu-HU" sz="2400" dirty="0" smtClean="0"/>
              <a:t>, </a:t>
            </a:r>
            <a:r>
              <a:rPr lang="hu-HU" sz="2400" dirty="0" err="1" smtClean="0"/>
              <a:t>thus</a:t>
            </a:r>
            <a:r>
              <a:rPr lang="hu-HU" sz="2400" dirty="0" smtClean="0"/>
              <a:t> </a:t>
            </a:r>
            <a:r>
              <a:rPr lang="en-US" sz="2400" dirty="0"/>
              <a:t>the </a:t>
            </a:r>
            <a:r>
              <a:rPr lang="en-US" sz="2400" b="1" dirty="0"/>
              <a:t>priorities</a:t>
            </a:r>
            <a:r>
              <a:rPr lang="en-US" sz="2400" dirty="0"/>
              <a:t> of national employment policy </a:t>
            </a:r>
            <a:r>
              <a:rPr lang="en-US" sz="2400" dirty="0" smtClean="0"/>
              <a:t>are </a:t>
            </a:r>
            <a:r>
              <a:rPr lang="en-US" sz="2400" dirty="0"/>
              <a:t>currently </a:t>
            </a:r>
            <a:r>
              <a:rPr lang="en-US" sz="2400" dirty="0" smtClean="0"/>
              <a:t>changing</a:t>
            </a:r>
            <a:r>
              <a:rPr lang="hu-HU" sz="2400" dirty="0" smtClean="0"/>
              <a:t>:</a:t>
            </a:r>
          </a:p>
          <a:p>
            <a:pPr lvl="1" algn="just" eaLnBrk="1" hangingPunct="1"/>
            <a:r>
              <a:rPr lang="en-GB" sz="2000" dirty="0"/>
              <a:t>the job-exploring activities of PES within the framework of CCHOP/EDIOP are growing</a:t>
            </a:r>
            <a:endParaRPr lang="hu-HU" sz="2000" dirty="0" smtClean="0"/>
          </a:p>
          <a:p>
            <a:pPr lvl="1" algn="just" eaLnBrk="1" hangingPunct="1"/>
            <a:r>
              <a:rPr lang="en-GB" sz="2000" dirty="0" smtClean="0"/>
              <a:t>regional </a:t>
            </a:r>
            <a:r>
              <a:rPr lang="en-GB" sz="2000" dirty="0"/>
              <a:t>pacts are developed within the framework of </a:t>
            </a:r>
            <a:r>
              <a:rPr lang="en-GB" sz="2000" dirty="0" smtClean="0"/>
              <a:t>LDOP</a:t>
            </a:r>
            <a:endParaRPr lang="hu-HU" sz="2000" dirty="0" smtClean="0"/>
          </a:p>
          <a:p>
            <a:pPr lvl="1" algn="just" eaLnBrk="1" hangingPunct="1"/>
            <a:endParaRPr lang="hu-HU" altLang="hu-HU" sz="2000" dirty="0" smtClean="0"/>
          </a:p>
        </p:txBody>
      </p:sp>
    </p:spTree>
    <p:extLst>
      <p:ext uri="{BB962C8B-B14F-4D97-AF65-F5344CB8AC3E}">
        <p14:creationId xmlns:p14="http://schemas.microsoft.com/office/powerpoint/2010/main" val="384728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Evidence-based design and implementation of PES service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endParaRPr lang="hu-HU" altLang="hu-HU" sz="2400" dirty="0" smtClean="0"/>
          </a:p>
          <a:p>
            <a:pPr algn="just" eaLnBrk="1" hangingPunct="1"/>
            <a:r>
              <a:rPr lang="en-US" altLang="hu-HU" sz="2400" b="1" dirty="0" smtClean="0"/>
              <a:t>Regular </a:t>
            </a:r>
            <a:r>
              <a:rPr lang="en-US" altLang="hu-HU" sz="2400" b="1" dirty="0"/>
              <a:t>evaluations </a:t>
            </a:r>
            <a:r>
              <a:rPr lang="en-US" altLang="hu-HU" sz="2400" dirty="0"/>
              <a:t>are held regarding ESF resources. </a:t>
            </a:r>
            <a:endParaRPr lang="hu-HU" altLang="hu-HU" sz="2400" dirty="0" smtClean="0"/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 smtClean="0"/>
              <a:t>Process-Integrated </a:t>
            </a:r>
            <a:r>
              <a:rPr lang="en-GB" sz="2400" dirty="0"/>
              <a:t>Preliminary and Subsequent </a:t>
            </a:r>
            <a:r>
              <a:rPr lang="en-GB" sz="2400" b="1" dirty="0"/>
              <a:t>Management Control </a:t>
            </a:r>
            <a:r>
              <a:rPr lang="en-GB" sz="2400" dirty="0"/>
              <a:t>(PIPSMC</a:t>
            </a:r>
            <a:r>
              <a:rPr lang="en-GB" sz="2400" dirty="0" smtClean="0"/>
              <a:t>)</a:t>
            </a:r>
            <a:r>
              <a:rPr lang="hu-HU" sz="2400" dirty="0" smtClean="0"/>
              <a:t> </a:t>
            </a:r>
            <a:r>
              <a:rPr lang="hu-HU" sz="2400" b="1" dirty="0" err="1" smtClean="0"/>
              <a:t>system</a:t>
            </a:r>
            <a:r>
              <a:rPr lang="hu-HU" sz="2400" dirty="0" smtClean="0"/>
              <a:t> </a:t>
            </a:r>
            <a:r>
              <a:rPr lang="hu-HU" sz="2400" dirty="0" err="1" smtClean="0"/>
              <a:t>operates</a:t>
            </a:r>
            <a:r>
              <a:rPr lang="hu-HU" sz="2400" dirty="0" smtClean="0"/>
              <a:t> </a:t>
            </a:r>
            <a:r>
              <a:rPr lang="hu-HU" sz="2400" dirty="0" err="1" smtClean="0"/>
              <a:t>at</a:t>
            </a:r>
            <a:r>
              <a:rPr lang="hu-HU" sz="2400" dirty="0" smtClean="0"/>
              <a:t> </a:t>
            </a:r>
            <a:r>
              <a:rPr lang="hu-HU" sz="2400" dirty="0" err="1" smtClean="0"/>
              <a:t>all</a:t>
            </a:r>
            <a:r>
              <a:rPr lang="hu-HU" sz="2400" dirty="0" smtClean="0"/>
              <a:t> </a:t>
            </a:r>
            <a:r>
              <a:rPr lang="hu-HU" sz="2400" dirty="0" err="1" smtClean="0"/>
              <a:t>level</a:t>
            </a:r>
            <a:r>
              <a:rPr lang="hu-HU" sz="2400" dirty="0" smtClean="0"/>
              <a:t>.</a:t>
            </a:r>
          </a:p>
          <a:p>
            <a:pPr algn="just" eaLnBrk="1" hangingPunct="1"/>
            <a:endParaRPr lang="hu-HU" sz="2400" dirty="0"/>
          </a:p>
          <a:p>
            <a:pPr algn="just" eaLnBrk="1" hangingPunct="1"/>
            <a:r>
              <a:rPr lang="en-US" sz="2400" dirty="0"/>
              <a:t>In recent years, several </a:t>
            </a:r>
            <a:r>
              <a:rPr lang="en-US" sz="2400" b="1" dirty="0"/>
              <a:t>external evaluations </a:t>
            </a:r>
            <a:r>
              <a:rPr lang="en-US" sz="2400" dirty="0"/>
              <a:t>have been made concerning the assets of </a:t>
            </a:r>
            <a:r>
              <a:rPr lang="en-US" sz="2400" dirty="0" smtClean="0"/>
              <a:t>PES</a:t>
            </a:r>
            <a:r>
              <a:rPr lang="hu-HU" sz="2400" dirty="0" smtClean="0"/>
              <a:t> (</a:t>
            </a:r>
            <a:r>
              <a:rPr lang="en-US" sz="2400" i="1" dirty="0" smtClean="0"/>
              <a:t>the </a:t>
            </a:r>
            <a:r>
              <a:rPr lang="en-US" sz="2400" i="1" dirty="0"/>
              <a:t>Budapest </a:t>
            </a:r>
            <a:r>
              <a:rPr lang="en-US" sz="2400" i="1" dirty="0" smtClean="0"/>
              <a:t>Institute</a:t>
            </a:r>
            <a:r>
              <a:rPr lang="hu-HU" sz="2400" i="1" dirty="0" smtClean="0"/>
              <a:t>; </a:t>
            </a:r>
            <a:r>
              <a:rPr lang="en-US" sz="2400" i="1" dirty="0" err="1" smtClean="0"/>
              <a:t>Corvinus</a:t>
            </a:r>
            <a:r>
              <a:rPr lang="en-US" sz="2400" i="1" dirty="0" smtClean="0"/>
              <a:t> University</a:t>
            </a:r>
            <a:r>
              <a:rPr lang="hu-HU" sz="2400" i="1" dirty="0" smtClean="0"/>
              <a:t>; </a:t>
            </a:r>
            <a:r>
              <a:rPr lang="en-US" sz="2400" i="1" dirty="0" err="1" smtClean="0"/>
              <a:t>Hétfa</a:t>
            </a:r>
            <a:r>
              <a:rPr lang="hu-HU" sz="2400" dirty="0" smtClean="0"/>
              <a:t>)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741595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Strategic performance management in </a:t>
            </a:r>
            <a:r>
              <a:rPr lang="hu-HU" sz="3200" b="1" dirty="0" err="1" smtClean="0">
                <a:solidFill>
                  <a:schemeClr val="accent2">
                    <a:lumMod val="50000"/>
                  </a:schemeClr>
                </a:solidFill>
              </a:rPr>
              <a:t>the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hu-HU" sz="3200" b="1" dirty="0" err="1" smtClean="0">
                <a:solidFill>
                  <a:schemeClr val="accent2">
                    <a:lumMod val="50000"/>
                  </a:schemeClr>
                </a:solidFill>
              </a:rPr>
              <a:t>Hungarian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GB" sz="3200" b="1" dirty="0" smtClean="0">
                <a:solidFill>
                  <a:schemeClr val="accent2">
                    <a:lumMod val="50000"/>
                  </a:schemeClr>
                </a:solidFill>
              </a:rPr>
              <a:t>PES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 (NFSZ)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6" name="Tartalom helye 3"/>
          <p:cNvSpPr txBox="1">
            <a:spLocks/>
          </p:cNvSpPr>
          <p:nvPr/>
        </p:nvSpPr>
        <p:spPr>
          <a:xfrm>
            <a:off x="908050" y="25732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hu-HU" sz="2400" dirty="0" smtClean="0"/>
              <a:t>E</a:t>
            </a:r>
            <a:r>
              <a:rPr lang="en-GB" sz="2400" dirty="0" err="1" smtClean="0"/>
              <a:t>mployment</a:t>
            </a:r>
            <a:r>
              <a:rPr lang="en-GB" sz="2400" dirty="0" smtClean="0"/>
              <a:t> </a:t>
            </a:r>
            <a:r>
              <a:rPr lang="en-GB" sz="2400" dirty="0"/>
              <a:t>policy measures </a:t>
            </a:r>
            <a:r>
              <a:rPr lang="hu-HU" sz="2400" dirty="0" err="1" smtClean="0"/>
              <a:t>are</a:t>
            </a:r>
            <a:r>
              <a:rPr lang="en-GB" sz="2400" dirty="0" smtClean="0"/>
              <a:t> </a:t>
            </a:r>
            <a:r>
              <a:rPr lang="en-GB" sz="2400" dirty="0"/>
              <a:t>executed within a wider institutional context (</a:t>
            </a:r>
            <a:r>
              <a:rPr lang="en-GB" sz="2400" b="1" dirty="0"/>
              <a:t>government offices</a:t>
            </a:r>
            <a:r>
              <a:rPr lang="en-GB" sz="2400" dirty="0" smtClean="0"/>
              <a:t>)</a:t>
            </a:r>
            <a:endParaRPr lang="hu-HU" sz="2400" dirty="0" smtClean="0"/>
          </a:p>
          <a:p>
            <a:pPr marL="0" indent="0" algn="just" eaLnBrk="1" hangingPunct="1">
              <a:buNone/>
            </a:pPr>
            <a:endParaRPr lang="hu-HU" sz="2400" dirty="0"/>
          </a:p>
          <a:p>
            <a:pPr algn="just" eaLnBrk="1" hangingPunct="1"/>
            <a:r>
              <a:rPr lang="en-US" sz="2400" dirty="0"/>
              <a:t>In the current government structure, </a:t>
            </a:r>
            <a:r>
              <a:rPr lang="en-US" sz="2400" b="1" dirty="0" smtClean="0"/>
              <a:t>M</a:t>
            </a:r>
            <a:r>
              <a:rPr lang="hu-HU" sz="2400" b="1" dirty="0" err="1" smtClean="0"/>
              <a:t>inistry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for</a:t>
            </a:r>
            <a:r>
              <a:rPr lang="hu-HU" sz="2400" b="1" dirty="0" smtClean="0"/>
              <a:t> </a:t>
            </a:r>
            <a:r>
              <a:rPr lang="en-US" sz="2400" b="1" dirty="0" smtClean="0"/>
              <a:t>N</a:t>
            </a:r>
            <a:r>
              <a:rPr lang="hu-HU" sz="2400" b="1" dirty="0" err="1" smtClean="0"/>
              <a:t>ational</a:t>
            </a:r>
            <a:r>
              <a:rPr lang="hu-HU" sz="2400" b="1" dirty="0" smtClean="0"/>
              <a:t> </a:t>
            </a:r>
            <a:r>
              <a:rPr lang="en-US" sz="2400" b="1" dirty="0" smtClean="0"/>
              <a:t>E</a:t>
            </a:r>
            <a:r>
              <a:rPr lang="hu-HU" sz="2400" b="1" dirty="0" err="1" smtClean="0"/>
              <a:t>conomy</a:t>
            </a:r>
            <a:r>
              <a:rPr lang="en-US" sz="2400" dirty="0" smtClean="0"/>
              <a:t>, </a:t>
            </a:r>
            <a:r>
              <a:rPr lang="en-US" sz="2400" b="1" dirty="0" smtClean="0"/>
              <a:t>M</a:t>
            </a:r>
            <a:r>
              <a:rPr lang="hu-HU" sz="2400" b="1" dirty="0" err="1" smtClean="0"/>
              <a:t>inistry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for</a:t>
            </a:r>
            <a:r>
              <a:rPr lang="hu-HU" sz="2400" b="1" dirty="0" smtClean="0"/>
              <a:t> </a:t>
            </a:r>
            <a:r>
              <a:rPr lang="en-US" sz="2400" b="1" dirty="0" smtClean="0"/>
              <a:t>H</a:t>
            </a:r>
            <a:r>
              <a:rPr lang="hu-HU" sz="2400" b="1" dirty="0" err="1" smtClean="0"/>
              <a:t>uman</a:t>
            </a:r>
            <a:r>
              <a:rPr lang="hu-HU" sz="2400" b="1" dirty="0" smtClean="0"/>
              <a:t> </a:t>
            </a:r>
            <a:r>
              <a:rPr lang="en-US" sz="2400" b="1" dirty="0" smtClean="0"/>
              <a:t>R</a:t>
            </a:r>
            <a:r>
              <a:rPr lang="hu-HU" sz="2400" b="1" dirty="0" err="1" smtClean="0"/>
              <a:t>esources</a:t>
            </a:r>
            <a:r>
              <a:rPr lang="en-US" sz="2400" dirty="0" smtClean="0"/>
              <a:t>, </a:t>
            </a:r>
            <a:r>
              <a:rPr lang="en-US" sz="2400" b="1" dirty="0" smtClean="0"/>
              <a:t>M</a:t>
            </a:r>
            <a:r>
              <a:rPr lang="hu-HU" sz="2400" b="1" dirty="0" err="1" smtClean="0"/>
              <a:t>inistry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for</a:t>
            </a:r>
            <a:r>
              <a:rPr lang="hu-HU" sz="2400" b="1" dirty="0" smtClean="0"/>
              <a:t> </a:t>
            </a:r>
            <a:r>
              <a:rPr lang="en-US" sz="2400" b="1" dirty="0" smtClean="0"/>
              <a:t>I</a:t>
            </a:r>
            <a:r>
              <a:rPr lang="hu-HU" sz="2400" b="1" dirty="0" err="1" smtClean="0"/>
              <a:t>nterior</a:t>
            </a:r>
            <a:r>
              <a:rPr lang="en-US" sz="2400" dirty="0" smtClean="0"/>
              <a:t> </a:t>
            </a:r>
            <a:r>
              <a:rPr lang="en-US" sz="2400" dirty="0"/>
              <a:t>and </a:t>
            </a:r>
            <a:r>
              <a:rPr lang="en-US" sz="2400" b="1" dirty="0" smtClean="0"/>
              <a:t>P</a:t>
            </a:r>
            <a:r>
              <a:rPr lang="hu-HU" sz="2400" b="1" dirty="0" err="1" smtClean="0"/>
              <a:t>rime</a:t>
            </a:r>
            <a:r>
              <a:rPr lang="hu-HU" sz="2400" b="1" dirty="0" smtClean="0"/>
              <a:t> </a:t>
            </a:r>
            <a:r>
              <a:rPr lang="en-US" sz="2400" b="1" dirty="0" smtClean="0"/>
              <a:t>M</a:t>
            </a:r>
            <a:r>
              <a:rPr lang="hu-HU" sz="2400" b="1" dirty="0" err="1" smtClean="0"/>
              <a:t>inister</a:t>
            </a:r>
            <a:r>
              <a:rPr lang="hu-HU" sz="2400" b="1" dirty="0" smtClean="0"/>
              <a:t>’s Office</a:t>
            </a:r>
            <a:r>
              <a:rPr lang="en-US" sz="2400" b="1" dirty="0" smtClean="0"/>
              <a:t> </a:t>
            </a:r>
            <a:r>
              <a:rPr lang="en-US" sz="2400" dirty="0"/>
              <a:t>also define tasks for and provide resources to </a:t>
            </a:r>
            <a:r>
              <a:rPr lang="hu-HU" sz="2400" dirty="0" err="1" smtClean="0"/>
              <a:t>the</a:t>
            </a:r>
            <a:r>
              <a:rPr lang="hu-HU" sz="2400" dirty="0" smtClean="0"/>
              <a:t> </a:t>
            </a:r>
            <a:r>
              <a:rPr lang="en-US" sz="2400" b="1" dirty="0" smtClean="0"/>
              <a:t>N</a:t>
            </a:r>
            <a:r>
              <a:rPr lang="hu-HU" sz="2400" b="1" dirty="0" err="1" smtClean="0"/>
              <a:t>ational</a:t>
            </a:r>
            <a:r>
              <a:rPr lang="hu-HU" sz="2400" b="1" dirty="0" smtClean="0"/>
              <a:t> </a:t>
            </a:r>
            <a:r>
              <a:rPr lang="en-US" sz="2400" b="1" dirty="0" smtClean="0"/>
              <a:t>E</a:t>
            </a:r>
            <a:r>
              <a:rPr lang="hu-HU" sz="2400" b="1" dirty="0" err="1" smtClean="0"/>
              <a:t>mployment</a:t>
            </a:r>
            <a:r>
              <a:rPr lang="hu-HU" sz="2400" b="1" dirty="0" smtClean="0"/>
              <a:t> </a:t>
            </a:r>
            <a:r>
              <a:rPr lang="en-US" sz="2400" b="1" dirty="0" smtClean="0"/>
              <a:t>S</a:t>
            </a:r>
            <a:r>
              <a:rPr lang="hu-HU" sz="2400" b="1" dirty="0" err="1" smtClean="0"/>
              <a:t>ervice</a:t>
            </a:r>
            <a:endParaRPr lang="hu-HU" sz="2400" b="1" dirty="0" smtClean="0"/>
          </a:p>
          <a:p>
            <a:pPr algn="just" eaLnBrk="1" hangingPunct="1"/>
            <a:endParaRPr lang="hu-HU" sz="2400" b="1" dirty="0"/>
          </a:p>
          <a:p>
            <a:pPr marL="0" indent="0" algn="just" eaLnBrk="1" hangingPunct="1">
              <a:buNone/>
            </a:pP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183587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Evidence-based design and implementation of PES service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800" dirty="0"/>
              <a:t>At present, we have </a:t>
            </a:r>
            <a:r>
              <a:rPr lang="en-GB" sz="2800" u="sng" dirty="0"/>
              <a:t>two pilot </a:t>
            </a:r>
            <a:r>
              <a:rPr lang="en-GB" sz="2800" u="sng" dirty="0" smtClean="0"/>
              <a:t>projects</a:t>
            </a:r>
            <a:r>
              <a:rPr lang="hu-HU" sz="2800" dirty="0" smtClean="0"/>
              <a:t>:</a:t>
            </a:r>
            <a:r>
              <a:rPr lang="en-GB" sz="2800" dirty="0" smtClean="0"/>
              <a:t> </a:t>
            </a:r>
            <a:endParaRPr lang="hu-HU" sz="2800" dirty="0" smtClean="0"/>
          </a:p>
          <a:p>
            <a:pPr algn="just" eaLnBrk="1" hangingPunct="1"/>
            <a:endParaRPr lang="hu-HU" sz="2800" dirty="0" smtClean="0"/>
          </a:p>
          <a:p>
            <a:pPr lvl="1" algn="just" eaLnBrk="1" hangingPunct="1"/>
            <a:r>
              <a:rPr lang="en-GB" sz="2400" dirty="0"/>
              <a:t>The integrated development of </a:t>
            </a:r>
            <a:r>
              <a:rPr lang="hu-HU" sz="2400" dirty="0" err="1"/>
              <a:t>two</a:t>
            </a:r>
            <a:r>
              <a:rPr lang="hu-HU" sz="2400" dirty="0"/>
              <a:t> </a:t>
            </a:r>
            <a:r>
              <a:rPr lang="hu-HU" sz="2400" b="1" dirty="0" err="1"/>
              <a:t>disadvantaged</a:t>
            </a:r>
            <a:r>
              <a:rPr lang="hu-HU" sz="2400" b="1" dirty="0"/>
              <a:t> </a:t>
            </a:r>
            <a:r>
              <a:rPr lang="hu-HU" sz="2400" b="1" dirty="0" err="1"/>
              <a:t>localities</a:t>
            </a:r>
            <a:r>
              <a:rPr lang="hu-HU" sz="2400" dirty="0"/>
              <a:t> (</a:t>
            </a:r>
            <a:r>
              <a:rPr lang="en-GB" sz="2400" dirty="0"/>
              <a:t>covered in a Government </a:t>
            </a:r>
            <a:r>
              <a:rPr lang="en-GB" sz="2400" dirty="0" smtClean="0"/>
              <a:t>Resolution</a:t>
            </a:r>
            <a:r>
              <a:rPr lang="hu-HU" sz="2400" dirty="0" smtClean="0"/>
              <a:t>)</a:t>
            </a:r>
            <a:r>
              <a:rPr lang="en-GB" sz="2400" dirty="0" smtClean="0"/>
              <a:t>. </a:t>
            </a:r>
            <a:endParaRPr lang="hu-HU" sz="2400" dirty="0"/>
          </a:p>
          <a:p>
            <a:pPr lvl="1" algn="just" eaLnBrk="1" hangingPunct="1"/>
            <a:endParaRPr lang="hu-HU" sz="2400" dirty="0"/>
          </a:p>
          <a:p>
            <a:pPr lvl="1" algn="just" eaLnBrk="1" hangingPunct="1"/>
            <a:r>
              <a:rPr lang="en-GB" sz="2400" dirty="0"/>
              <a:t>special program for such </a:t>
            </a:r>
            <a:r>
              <a:rPr lang="en-GB" sz="2400" b="1" dirty="0"/>
              <a:t>people struggling with mental, social and health problems</a:t>
            </a:r>
            <a:r>
              <a:rPr lang="en-GB" sz="2400" dirty="0"/>
              <a:t> who cannot be involved into employment.</a:t>
            </a:r>
            <a:endParaRPr lang="hu-HU" altLang="hu-HU" sz="2400" dirty="0"/>
          </a:p>
        </p:txBody>
      </p:sp>
    </p:spTree>
    <p:extLst>
      <p:ext uri="{BB962C8B-B14F-4D97-AF65-F5344CB8AC3E}">
        <p14:creationId xmlns:p14="http://schemas.microsoft.com/office/powerpoint/2010/main" val="109875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Effective management of partnerships with stakeholder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 smtClean="0"/>
              <a:t>The </a:t>
            </a:r>
            <a:r>
              <a:rPr lang="en-GB" sz="2400" dirty="0"/>
              <a:t>Hungarian PES operates as </a:t>
            </a:r>
            <a:r>
              <a:rPr lang="en-GB" sz="2400" b="1" dirty="0"/>
              <a:t>part of regional public administration</a:t>
            </a:r>
            <a:r>
              <a:rPr lang="en-GB" sz="2400" dirty="0"/>
              <a:t>, and it defines its partners accordingly. </a:t>
            </a:r>
            <a:endParaRPr lang="hu-HU" sz="2400" dirty="0" smtClean="0"/>
          </a:p>
          <a:p>
            <a:pPr algn="just" eaLnBrk="1" hangingPunct="1"/>
            <a:r>
              <a:rPr lang="en-GB" sz="2400" dirty="0" smtClean="0"/>
              <a:t>PES </a:t>
            </a:r>
            <a:r>
              <a:rPr lang="en-GB" sz="2400" dirty="0"/>
              <a:t>performs OP measures in relation to which </a:t>
            </a:r>
            <a:r>
              <a:rPr lang="en-GB" sz="2400" dirty="0" smtClean="0"/>
              <a:t>project-based </a:t>
            </a:r>
            <a:r>
              <a:rPr lang="en-GB" sz="2400" dirty="0"/>
              <a:t>strategies are </a:t>
            </a:r>
            <a:r>
              <a:rPr lang="en-GB" sz="2400" dirty="0" smtClean="0"/>
              <a:t>created (see LDOP, YGS, etc.). </a:t>
            </a:r>
            <a:endParaRPr lang="hu-HU" sz="2400" dirty="0" smtClean="0"/>
          </a:p>
          <a:p>
            <a:pPr algn="just" eaLnBrk="1" hangingPunct="1"/>
            <a:r>
              <a:rPr lang="en-GB" sz="2400" dirty="0" smtClean="0"/>
              <a:t>At </a:t>
            </a:r>
            <a:r>
              <a:rPr lang="en-GB" sz="2400" dirty="0"/>
              <a:t>the national level, the </a:t>
            </a:r>
            <a:r>
              <a:rPr lang="en-GB" sz="2400" b="1" dirty="0"/>
              <a:t>National Competitiveness Council</a:t>
            </a:r>
            <a:r>
              <a:rPr lang="en-GB" sz="2400" dirty="0"/>
              <a:t> (NCC), </a:t>
            </a:r>
            <a:r>
              <a:rPr lang="en-GB" sz="2400" dirty="0" smtClean="0"/>
              <a:t>started </a:t>
            </a:r>
            <a:r>
              <a:rPr lang="en-GB" sz="2400" dirty="0"/>
              <a:t>in March </a:t>
            </a:r>
            <a:r>
              <a:rPr lang="en-GB" sz="2400" dirty="0" smtClean="0"/>
              <a:t>2017</a:t>
            </a:r>
            <a:r>
              <a:rPr lang="hu-HU" sz="2400" dirty="0" smtClean="0"/>
              <a:t>, </a:t>
            </a:r>
            <a:r>
              <a:rPr lang="hu-HU" sz="2400" dirty="0" err="1" smtClean="0"/>
              <a:t>chaired</a:t>
            </a:r>
            <a:r>
              <a:rPr lang="hu-HU" sz="2400" dirty="0" smtClean="0"/>
              <a:t> </a:t>
            </a:r>
            <a:r>
              <a:rPr lang="hu-HU" sz="2400" dirty="0" err="1" smtClean="0"/>
              <a:t>by</a:t>
            </a:r>
            <a:r>
              <a:rPr lang="hu-HU" sz="2400" dirty="0" smtClean="0"/>
              <a:t> </a:t>
            </a:r>
            <a:r>
              <a:rPr lang="hu-HU" sz="2400" dirty="0" err="1" smtClean="0"/>
              <a:t>the</a:t>
            </a:r>
            <a:r>
              <a:rPr lang="hu-HU" sz="2400" dirty="0" smtClean="0"/>
              <a:t> MNE </a:t>
            </a:r>
            <a:r>
              <a:rPr lang="hu-HU" sz="2400" dirty="0" err="1" smtClean="0"/>
              <a:t>minister</a:t>
            </a:r>
            <a:r>
              <a:rPr lang="en-GB" sz="2400" dirty="0" smtClean="0"/>
              <a:t>. </a:t>
            </a:r>
            <a:endParaRPr lang="hu-HU" sz="2400" dirty="0" smtClean="0"/>
          </a:p>
          <a:p>
            <a:pPr algn="just" eaLnBrk="1" hangingPunct="1"/>
            <a:r>
              <a:rPr lang="en-GB" sz="2400" dirty="0" smtClean="0"/>
              <a:t>Forums for </a:t>
            </a:r>
            <a:r>
              <a:rPr lang="en-GB" sz="2400" dirty="0"/>
              <a:t>the reconciliation of interests are the </a:t>
            </a:r>
            <a:r>
              <a:rPr lang="en-GB" sz="2400" b="1" dirty="0"/>
              <a:t>National Economic and Social Council </a:t>
            </a:r>
            <a:r>
              <a:rPr lang="en-GB" sz="2400" dirty="0"/>
              <a:t>(NESC) </a:t>
            </a:r>
            <a:r>
              <a:rPr lang="en-GB" sz="2400" dirty="0" smtClean="0"/>
              <a:t>and </a:t>
            </a:r>
            <a:r>
              <a:rPr lang="en-GB" sz="2400" dirty="0"/>
              <a:t>the </a:t>
            </a:r>
            <a:r>
              <a:rPr lang="en-GB" sz="2400" b="1" dirty="0"/>
              <a:t>Public Service Reconciliation Forum </a:t>
            </a:r>
            <a:r>
              <a:rPr lang="en-GB" sz="2400" dirty="0"/>
              <a:t>(PSRF</a:t>
            </a:r>
            <a:r>
              <a:rPr lang="en-GB" sz="2400" dirty="0" smtClean="0"/>
              <a:t>).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138218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Effective management of partnerships with stakeholders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/>
              <a:t>MNE is in </a:t>
            </a:r>
            <a:r>
              <a:rPr lang="en-GB" sz="2400" b="1" dirty="0"/>
              <a:t>partnership with the partnering ministries </a:t>
            </a:r>
            <a:r>
              <a:rPr lang="en-GB" sz="2400" dirty="0"/>
              <a:t>(PM, MHR, MI) and the </a:t>
            </a:r>
            <a:r>
              <a:rPr lang="en-GB" sz="2400" b="1" dirty="0"/>
              <a:t>chambers</a:t>
            </a:r>
            <a:r>
              <a:rPr lang="en-GB" sz="2400" dirty="0"/>
              <a:t> </a:t>
            </a:r>
            <a:endParaRPr lang="hu-HU" sz="2400" dirty="0" smtClean="0"/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 smtClean="0"/>
              <a:t>MNE </a:t>
            </a:r>
            <a:r>
              <a:rPr lang="en-GB" sz="2400" dirty="0"/>
              <a:t>manages the </a:t>
            </a:r>
            <a:r>
              <a:rPr lang="en-GB" sz="2400" b="1" dirty="0"/>
              <a:t>employment pacts</a:t>
            </a:r>
            <a:r>
              <a:rPr lang="en-GB" sz="2400" dirty="0"/>
              <a:t> of LDOP in cooperation with county government offices, and also builds a network within the framework of </a:t>
            </a:r>
            <a:r>
              <a:rPr lang="hu-HU" sz="2400" dirty="0" err="1" smtClean="0"/>
              <a:t>Youth</a:t>
            </a:r>
            <a:r>
              <a:rPr lang="hu-HU" sz="2400" dirty="0" smtClean="0"/>
              <a:t> </a:t>
            </a:r>
            <a:r>
              <a:rPr lang="hu-HU" sz="2400" dirty="0" err="1" smtClean="0"/>
              <a:t>Guaranty</a:t>
            </a:r>
            <a:r>
              <a:rPr lang="hu-HU" sz="2400" dirty="0" smtClean="0"/>
              <a:t>.</a:t>
            </a:r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/>
              <a:t>At the district and county level, the individual offices establish and maintain </a:t>
            </a:r>
            <a:r>
              <a:rPr lang="en-GB" sz="2400" b="1" dirty="0"/>
              <a:t>their own </a:t>
            </a:r>
            <a:r>
              <a:rPr lang="en-GB" sz="2400" b="1" dirty="0" smtClean="0"/>
              <a:t>respective</a:t>
            </a:r>
            <a:r>
              <a:rPr lang="hu-HU" sz="2400" b="1" dirty="0" smtClean="0"/>
              <a:t> </a:t>
            </a:r>
            <a:r>
              <a:rPr lang="hu-HU" sz="2400" b="1" dirty="0" err="1" smtClean="0"/>
              <a:t>networks</a:t>
            </a:r>
            <a:endParaRPr lang="hu-HU" altLang="hu-HU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81142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Allocation of PES resources (both human and financial)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 smtClean="0"/>
              <a:t>County government </a:t>
            </a:r>
            <a:r>
              <a:rPr lang="en-GB" sz="2400" dirty="0"/>
              <a:t>offices performing employment and labour market duties </a:t>
            </a:r>
            <a:r>
              <a:rPr lang="en-GB" sz="2400" b="1" dirty="0"/>
              <a:t>encompass the performance of HR </a:t>
            </a:r>
            <a:r>
              <a:rPr lang="en-GB" sz="2400" dirty="0"/>
              <a:t>policy and HR management functional tasks</a:t>
            </a:r>
            <a:r>
              <a:rPr lang="en-GB" sz="2400" dirty="0" smtClean="0"/>
              <a:t>.</a:t>
            </a:r>
            <a:endParaRPr lang="hu-HU" sz="2400" dirty="0" smtClean="0"/>
          </a:p>
          <a:p>
            <a:pPr algn="just" eaLnBrk="1" hangingPunct="1"/>
            <a:r>
              <a:rPr lang="en-GB" sz="2400" dirty="0"/>
              <a:t>The state </a:t>
            </a:r>
            <a:r>
              <a:rPr lang="en-GB" sz="2400" b="1" dirty="0"/>
              <a:t>officials</a:t>
            </a:r>
            <a:r>
              <a:rPr lang="en-GB" sz="2400" dirty="0"/>
              <a:t> of NES employed at a regional and local level </a:t>
            </a:r>
            <a:r>
              <a:rPr lang="en-GB" sz="2400" b="1" dirty="0"/>
              <a:t>belong </a:t>
            </a:r>
            <a:r>
              <a:rPr lang="en-GB" sz="2400" b="1" dirty="0" smtClean="0"/>
              <a:t>to</a:t>
            </a:r>
            <a:r>
              <a:rPr lang="hu-HU" sz="2400" b="1" dirty="0" smtClean="0"/>
              <a:t> </a:t>
            </a:r>
            <a:r>
              <a:rPr lang="en-GB" sz="2400" b="1" dirty="0"/>
              <a:t>government offices</a:t>
            </a:r>
            <a:r>
              <a:rPr lang="en-GB" sz="2400" dirty="0"/>
              <a:t>, as well the </a:t>
            </a:r>
            <a:r>
              <a:rPr lang="en-GB" sz="2400" b="1" dirty="0"/>
              <a:t>district </a:t>
            </a:r>
            <a:r>
              <a:rPr lang="en-GB" sz="2400" b="1" dirty="0" smtClean="0"/>
              <a:t>offices</a:t>
            </a:r>
            <a:r>
              <a:rPr lang="hu-HU" sz="2400" dirty="0" smtClean="0"/>
              <a:t>.</a:t>
            </a:r>
          </a:p>
          <a:p>
            <a:pPr algn="just" eaLnBrk="1" hangingPunct="1"/>
            <a:r>
              <a:rPr lang="en-GB" sz="2400" dirty="0" smtClean="0"/>
              <a:t>Government officials </a:t>
            </a:r>
            <a:r>
              <a:rPr lang="en-GB" sz="2400" dirty="0"/>
              <a:t>and state officials are </a:t>
            </a:r>
            <a:r>
              <a:rPr lang="en-GB" sz="2400" b="1" dirty="0"/>
              <a:t>obliged to attend further education</a:t>
            </a:r>
            <a:r>
              <a:rPr lang="en-GB" sz="2400" dirty="0"/>
              <a:t> as required centrally or by the body of public administration in </a:t>
            </a:r>
            <a:r>
              <a:rPr lang="en-GB" sz="2400" dirty="0" smtClean="0"/>
              <a:t>question</a:t>
            </a:r>
            <a:r>
              <a:rPr lang="hu-HU" sz="2400" dirty="0" smtClean="0"/>
              <a:t>.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57033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GB" sz="3200" b="1" dirty="0">
                <a:solidFill>
                  <a:schemeClr val="accent2">
                    <a:lumMod val="50000"/>
                  </a:schemeClr>
                </a:solidFill>
              </a:rPr>
              <a:t>Allocation of PES resources (both human and financial)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GB" sz="2400" dirty="0" smtClean="0"/>
              <a:t>The financial </a:t>
            </a:r>
            <a:r>
              <a:rPr lang="en-GB" sz="2400" dirty="0"/>
              <a:t>resources are </a:t>
            </a:r>
            <a:r>
              <a:rPr lang="en-GB" sz="2400" b="1" dirty="0"/>
              <a:t>allocated centrally</a:t>
            </a:r>
            <a:r>
              <a:rPr lang="en-GB" sz="2400" dirty="0"/>
              <a:t>, in the case of both </a:t>
            </a:r>
            <a:r>
              <a:rPr lang="hu-HU" sz="2400" dirty="0" err="1" smtClean="0"/>
              <a:t>national</a:t>
            </a:r>
            <a:r>
              <a:rPr lang="hu-HU" sz="2400" dirty="0" smtClean="0"/>
              <a:t> </a:t>
            </a:r>
            <a:r>
              <a:rPr lang="en-GB" sz="2400" dirty="0" smtClean="0"/>
              <a:t>and </a:t>
            </a:r>
            <a:r>
              <a:rPr lang="en-GB" sz="2400" dirty="0"/>
              <a:t>EU </a:t>
            </a:r>
            <a:r>
              <a:rPr lang="en-GB" sz="2400" dirty="0" smtClean="0"/>
              <a:t>funds</a:t>
            </a:r>
            <a:r>
              <a:rPr lang="hu-HU" sz="2400" dirty="0" smtClean="0"/>
              <a:t>.</a:t>
            </a:r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/>
              <a:t>The funds are distributed </a:t>
            </a:r>
            <a:r>
              <a:rPr lang="en-GB" sz="2400" b="1" dirty="0"/>
              <a:t>in consideration of various principles</a:t>
            </a:r>
            <a:r>
              <a:rPr lang="en-GB" sz="2400" dirty="0"/>
              <a:t> (e.g. size of the county, distribution of the population, the level of development of the region). </a:t>
            </a:r>
            <a:endParaRPr lang="hu-HU" sz="2400" dirty="0" smtClean="0"/>
          </a:p>
          <a:p>
            <a:pPr algn="just" eaLnBrk="1" hangingPunct="1"/>
            <a:endParaRPr lang="hu-HU" sz="2400" dirty="0" smtClean="0"/>
          </a:p>
          <a:p>
            <a:pPr algn="just" eaLnBrk="1" hangingPunct="1"/>
            <a:r>
              <a:rPr lang="en-GB" sz="2400" dirty="0"/>
              <a:t>National Employment Service has been operating </a:t>
            </a:r>
            <a:r>
              <a:rPr lang="hu-HU" sz="2400" dirty="0" err="1" smtClean="0"/>
              <a:t>the</a:t>
            </a:r>
            <a:r>
              <a:rPr lang="hu-HU" sz="2400" dirty="0" smtClean="0"/>
              <a:t> </a:t>
            </a:r>
            <a:r>
              <a:rPr lang="hu-HU" sz="2400" b="1" dirty="0" smtClean="0"/>
              <a:t>MBO </a:t>
            </a:r>
            <a:r>
              <a:rPr lang="hu-HU" sz="2400" b="1" dirty="0" err="1" smtClean="0"/>
              <a:t>system</a:t>
            </a:r>
            <a:r>
              <a:rPr lang="hu-HU" sz="2400" b="1" dirty="0" smtClean="0"/>
              <a:t> </a:t>
            </a:r>
            <a:r>
              <a:rPr lang="en-GB" sz="2400" dirty="0" smtClean="0"/>
              <a:t>since </a:t>
            </a:r>
            <a:r>
              <a:rPr lang="en-GB" sz="2400" dirty="0"/>
              <a:t>2005, under which a </a:t>
            </a:r>
            <a:r>
              <a:rPr lang="en-GB" sz="2400" b="1" dirty="0"/>
              <a:t>resource map has been created</a:t>
            </a:r>
            <a:r>
              <a:rPr lang="en-GB" sz="2400" dirty="0"/>
              <a:t> for the counties in 2017 in order to facilitate firmly grounded planning. 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10018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3078088"/>
            <a:ext cx="8229600" cy="1143000"/>
          </a:xfrm>
        </p:spPr>
        <p:txBody>
          <a:bodyPr/>
          <a:lstStyle/>
          <a:p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THANK YOU FOR YOU KIND ATTENTION!</a:t>
            </a:r>
            <a:endParaRPr lang="hu-HU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</p:spTree>
    <p:extLst>
      <p:ext uri="{BB962C8B-B14F-4D97-AF65-F5344CB8AC3E}">
        <p14:creationId xmlns:p14="http://schemas.microsoft.com/office/powerpoint/2010/main" val="2123877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</a:rPr>
              <a:t>AB</a:t>
            </a:r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B</a:t>
            </a:r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</a:rPr>
              <a:t>REVIATIONS</a:t>
            </a:r>
            <a:endParaRPr lang="en-US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1" hangingPunct="1">
              <a:buNone/>
            </a:pPr>
            <a:r>
              <a:rPr lang="hu-HU" sz="2400" dirty="0" smtClean="0"/>
              <a:t>LDOP – Local </a:t>
            </a:r>
            <a:r>
              <a:rPr lang="en-US" sz="2400" b="1" dirty="0" smtClean="0"/>
              <a:t>Development</a:t>
            </a:r>
            <a:r>
              <a:rPr lang="en-US" sz="2400" dirty="0"/>
              <a:t> Operative Program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145384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Subtitle 4"/>
          <p:cNvSpPr>
            <a:spLocks noGrp="1"/>
          </p:cNvSpPr>
          <p:nvPr>
            <p:ph type="subTitle" idx="1"/>
          </p:nvPr>
        </p:nvSpPr>
        <p:spPr>
          <a:xfrm>
            <a:off x="1331913" y="5300663"/>
            <a:ext cx="6400800" cy="714375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buFont typeface="Arial" charset="0"/>
              <a:buNone/>
              <a:defRPr/>
            </a:pPr>
            <a:r>
              <a:rPr lang="en-US" dirty="0"/>
              <a:t>The employment rate increased to 72.6% in the age group of 20-64 in the last quarter of 2016, which exceeds the EU level, and shows a significant approach to the EU2020 target</a:t>
            </a:r>
            <a:r>
              <a:rPr lang="hu-HU" dirty="0"/>
              <a:t>.</a:t>
            </a:r>
            <a:endParaRPr lang="hu-HU" altLang="hu-HU" dirty="0">
              <a:latin typeface="Arial" charset="0"/>
              <a:cs typeface="Arial" charset="0"/>
            </a:endParaRPr>
          </a:p>
        </p:txBody>
      </p:sp>
      <p:pic>
        <p:nvPicPr>
          <p:cNvPr id="614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1412875"/>
            <a:ext cx="5429250" cy="375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3"/>
          <p:cNvSpPr>
            <a:spLocks noGrp="1"/>
          </p:cNvSpPr>
          <p:nvPr>
            <p:ph type="title"/>
          </p:nvPr>
        </p:nvSpPr>
        <p:spPr>
          <a:xfrm>
            <a:off x="468313" y="6021388"/>
            <a:ext cx="6911975" cy="287337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sz="1400" dirty="0"/>
              <a:t>NATIONAL REFORM PROGRAMME 2017 OF HUNGARY </a:t>
            </a:r>
            <a:endParaRPr lang="hu-HU" altLang="hu-HU" sz="1400" dirty="0">
              <a:latin typeface="Arial" charset="0"/>
              <a:cs typeface="Arial" charset="0"/>
            </a:endParaRPr>
          </a:p>
        </p:txBody>
      </p:sp>
      <p:pic>
        <p:nvPicPr>
          <p:cNvPr id="7171" name="Picture 5"/>
          <p:cNvPicPr>
            <a:picLocks noGrp="1" noChangeAspect="1" noChangeArrowheads="1"/>
          </p:cNvPicPr>
          <p:nvPr>
            <p:ph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76375" y="1125538"/>
            <a:ext cx="5932488" cy="46069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zis 1"/>
          <p:cNvSpPr/>
          <p:nvPr/>
        </p:nvSpPr>
        <p:spPr>
          <a:xfrm>
            <a:off x="3776663" y="3789363"/>
            <a:ext cx="647700" cy="6477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Cím 1"/>
          <p:cNvSpPr>
            <a:spLocks noGrp="1"/>
          </p:cNvSpPr>
          <p:nvPr>
            <p:ph type="title"/>
          </p:nvPr>
        </p:nvSpPr>
        <p:spPr>
          <a:xfrm>
            <a:off x="1835150" y="1268413"/>
            <a:ext cx="5811838" cy="857250"/>
          </a:xfrm>
        </p:spPr>
        <p:txBody>
          <a:bodyPr/>
          <a:lstStyle/>
          <a:p>
            <a:pPr algn="ctr"/>
            <a:r>
              <a:rPr lang="en-GB" altLang="hu-HU" b="1" smtClean="0"/>
              <a:t>In addition to the increase of employment the economy still has </a:t>
            </a:r>
            <a:r>
              <a:rPr lang="en-GB" altLang="hu-HU" sz="2400" b="1" smtClean="0"/>
              <a:t>labour shortages </a:t>
            </a:r>
            <a:endParaRPr lang="en-GB" altLang="hu-HU" sz="2400" smtClean="0"/>
          </a:p>
        </p:txBody>
      </p:sp>
      <p:sp>
        <p:nvSpPr>
          <p:cNvPr id="10243" name="Tartalom helye 2"/>
          <p:cNvSpPr>
            <a:spLocks noGrp="1"/>
          </p:cNvSpPr>
          <p:nvPr>
            <p:ph idx="14"/>
          </p:nvPr>
        </p:nvSpPr>
        <p:spPr>
          <a:xfrm>
            <a:off x="827088" y="1989138"/>
            <a:ext cx="7632700" cy="4319587"/>
          </a:xfrm>
        </p:spPr>
        <p:txBody>
          <a:bodyPr/>
          <a:lstStyle/>
          <a:p>
            <a:pPr marL="0" indent="0" algn="just">
              <a:buFont typeface="Arial" pitchFamily="34" charset="0"/>
              <a:buNone/>
              <a:defRPr/>
            </a:pPr>
            <a:r>
              <a:rPr lang="en-GB" altLang="hu-HU" b="1" u="sng" dirty="0" smtClean="0"/>
              <a:t>Issues: </a:t>
            </a:r>
          </a:p>
          <a:p>
            <a:pPr algn="just">
              <a:defRPr/>
            </a:pPr>
            <a:r>
              <a:rPr lang="en-GB" altLang="hu-HU" dirty="0" smtClean="0"/>
              <a:t>2016 short-term </a:t>
            </a:r>
            <a:r>
              <a:rPr lang="en-GB" altLang="hu-HU" dirty="0" err="1" smtClean="0"/>
              <a:t>labout</a:t>
            </a:r>
            <a:r>
              <a:rPr lang="en-GB" altLang="hu-HU" dirty="0" smtClean="0"/>
              <a:t> market forecast of the Hungarian Chamber of Commerce and Industry, 33.1% (2015: 25%) of the companies reported labour shortages. This rate is higher than the 26.6% measured before the crisis. The number of job vacancies (including primary labour market and public work) was 96,000 in 2016 (2015: 73,000). </a:t>
            </a:r>
          </a:p>
          <a:p>
            <a:pPr algn="just">
              <a:defRPr/>
            </a:pPr>
            <a:r>
              <a:rPr lang="en-GB" altLang="hu-HU" dirty="0" smtClean="0"/>
              <a:t>The </a:t>
            </a:r>
            <a:r>
              <a:rPr lang="en-GB" altLang="hu-HU" b="1" dirty="0" smtClean="0"/>
              <a:t>reasons for labour shortages can be traced back to qualitative, and geographical reasons. </a:t>
            </a:r>
          </a:p>
          <a:p>
            <a:pPr algn="just">
              <a:defRPr/>
            </a:pPr>
            <a:r>
              <a:rPr lang="en-GB" altLang="hu-HU" dirty="0" smtClean="0"/>
              <a:t>The tightening of supply side (primarily because of the growing shortage of skilled labour) and the growing number of vacant jobs applies territorially disproportionately. </a:t>
            </a:r>
          </a:p>
          <a:p>
            <a:pPr algn="just">
              <a:defRPr/>
            </a:pPr>
            <a:r>
              <a:rPr lang="en-GB" altLang="hu-HU" dirty="0" smtClean="0"/>
              <a:t>On the whole, only a minority of the public workers are able to acquire labour market jobs, and there are large regional differences. In Budapest, Pest, </a:t>
            </a:r>
            <a:r>
              <a:rPr lang="en-GB" altLang="hu-HU" dirty="0" err="1" smtClean="0"/>
              <a:t>Győr</a:t>
            </a:r>
            <a:r>
              <a:rPr lang="en-GB" altLang="hu-HU" dirty="0" smtClean="0"/>
              <a:t>-</a:t>
            </a:r>
            <a:r>
              <a:rPr lang="en-GB" altLang="hu-HU" dirty="0" err="1" smtClean="0"/>
              <a:t>Moson</a:t>
            </a:r>
            <a:r>
              <a:rPr lang="en-GB" altLang="hu-HU" dirty="0" smtClean="0"/>
              <a:t>-Sopron and Vas counties there are more vacancies than public workers, while in </a:t>
            </a:r>
            <a:r>
              <a:rPr lang="en-GB" altLang="hu-HU" dirty="0" err="1" smtClean="0"/>
              <a:t>Borsod-Abaúj-Zemplén</a:t>
            </a:r>
            <a:r>
              <a:rPr lang="en-GB" altLang="hu-HU" dirty="0" smtClean="0"/>
              <a:t>, Baranya, </a:t>
            </a:r>
            <a:r>
              <a:rPr lang="en-GB" altLang="hu-HU" dirty="0" err="1" smtClean="0"/>
              <a:t>Békés</a:t>
            </a:r>
            <a:r>
              <a:rPr lang="en-GB" altLang="hu-HU" dirty="0" smtClean="0"/>
              <a:t> and </a:t>
            </a:r>
            <a:r>
              <a:rPr lang="en-GB" altLang="hu-HU" dirty="0" err="1" smtClean="0"/>
              <a:t>Szabolcs-Szatmár-Bereg</a:t>
            </a:r>
            <a:r>
              <a:rPr lang="en-GB" altLang="hu-HU" dirty="0" smtClean="0"/>
              <a:t> counties the surplus of public workers is more than tenfold.</a:t>
            </a:r>
          </a:p>
          <a:p>
            <a:pPr marL="0" indent="0" algn="just">
              <a:buFont typeface="Arial" pitchFamily="34" charset="0"/>
              <a:buNone/>
              <a:defRPr/>
            </a:pPr>
            <a:r>
              <a:rPr lang="en-GB" altLang="hu-HU" u="sng" dirty="0" smtClean="0"/>
              <a:t>Answers: </a:t>
            </a:r>
          </a:p>
          <a:p>
            <a:pPr>
              <a:defRPr/>
            </a:pPr>
            <a:r>
              <a:rPr lang="en-GB" altLang="hu-HU" b="1" dirty="0" smtClean="0"/>
              <a:t>Further reform of the LLL and –C-VET systems: e.g. </a:t>
            </a:r>
            <a:r>
              <a:rPr lang="en-GB" altLang="hu-HU" dirty="0" smtClean="0"/>
              <a:t>set up </a:t>
            </a:r>
            <a:r>
              <a:rPr lang="en-GB" altLang="hu-HU" b="1" dirty="0" smtClean="0"/>
              <a:t>Skills Councils</a:t>
            </a:r>
            <a:r>
              <a:rPr lang="en-GB" altLang="hu-HU" dirty="0" smtClean="0"/>
              <a:t>, short-term LM trainings </a:t>
            </a:r>
          </a:p>
          <a:p>
            <a:pPr>
              <a:defRPr/>
            </a:pPr>
            <a:r>
              <a:rPr lang="en-GB" altLang="hu-HU" dirty="0" smtClean="0"/>
              <a:t>Develop mentoring services for job-seekers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Csoportba foglalás 107"/>
          <p:cNvGrpSpPr/>
          <p:nvPr/>
        </p:nvGrpSpPr>
        <p:grpSpPr>
          <a:xfrm>
            <a:off x="755576" y="1096249"/>
            <a:ext cx="8029109" cy="5606958"/>
            <a:chOff x="548790" y="836712"/>
            <a:chExt cx="8624791" cy="6243019"/>
          </a:xfrm>
        </p:grpSpPr>
        <p:sp>
          <p:nvSpPr>
            <p:cNvPr id="109" name="Téglalap 108"/>
            <p:cNvSpPr/>
            <p:nvPr/>
          </p:nvSpPr>
          <p:spPr>
            <a:xfrm>
              <a:off x="2506723" y="6000291"/>
              <a:ext cx="1368153" cy="57606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smtClean="0">
                  <a:solidFill>
                    <a:schemeClr val="tx1"/>
                  </a:solidFill>
                </a:rPr>
                <a:t>PES </a:t>
              </a:r>
              <a:r>
                <a:rPr lang="hu-HU" sz="1300" b="1" dirty="0" err="1" smtClean="0">
                  <a:solidFill>
                    <a:schemeClr val="tx1"/>
                  </a:solidFill>
                </a:rPr>
                <a:t>services</a:t>
              </a:r>
              <a:r>
                <a:rPr lang="hu-HU" sz="1300" b="1" dirty="0" smtClean="0">
                  <a:solidFill>
                    <a:schemeClr val="tx1"/>
                  </a:solidFill>
                </a:rPr>
                <a:t> + </a:t>
              </a:r>
              <a:r>
                <a:rPr lang="hu-HU" sz="1300" b="1" dirty="0" err="1" smtClean="0">
                  <a:solidFill>
                    <a:schemeClr val="tx1"/>
                  </a:solidFill>
                </a:rPr>
                <a:t>public</a:t>
              </a:r>
              <a:r>
                <a:rPr lang="hu-HU" sz="1300" b="1" dirty="0" smtClean="0">
                  <a:solidFill>
                    <a:schemeClr val="tx1"/>
                  </a:solidFill>
                </a:rPr>
                <a:t> </a:t>
              </a:r>
              <a:r>
                <a:rPr lang="hu-HU" sz="1300" b="1" dirty="0" err="1" smtClean="0">
                  <a:solidFill>
                    <a:schemeClr val="tx1"/>
                  </a:solidFill>
                </a:rPr>
                <a:t>work</a:t>
              </a:r>
              <a:endParaRPr lang="hu-HU" sz="1300" b="1" dirty="0">
                <a:solidFill>
                  <a:schemeClr val="tx1"/>
                </a:solidFill>
              </a:endParaRPr>
            </a:p>
          </p:txBody>
        </p:sp>
        <p:sp>
          <p:nvSpPr>
            <p:cNvPr id="110" name="Téglalap 109"/>
            <p:cNvSpPr/>
            <p:nvPr/>
          </p:nvSpPr>
          <p:spPr>
            <a:xfrm>
              <a:off x="548790" y="2768336"/>
              <a:ext cx="1440160" cy="57606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smtClean="0"/>
                <a:t>NRA       (</a:t>
              </a:r>
              <a:r>
                <a:rPr lang="hu-HU" sz="1300" b="1" dirty="0" err="1" smtClean="0"/>
                <a:t>disability</a:t>
              </a:r>
              <a:r>
                <a:rPr lang="hu-HU" sz="1300" b="1" dirty="0" smtClean="0"/>
                <a:t>)</a:t>
              </a:r>
              <a:endParaRPr lang="hu-HU" sz="1300" b="1" dirty="0"/>
            </a:p>
          </p:txBody>
        </p:sp>
        <p:sp>
          <p:nvSpPr>
            <p:cNvPr id="111" name="Téglalap 110"/>
            <p:cNvSpPr/>
            <p:nvPr/>
          </p:nvSpPr>
          <p:spPr>
            <a:xfrm>
              <a:off x="2493004" y="3479437"/>
              <a:ext cx="1345165" cy="576064"/>
            </a:xfrm>
            <a:prstGeom prst="rect">
              <a:avLst/>
            </a:prstGeom>
            <a:solidFill>
              <a:srgbClr val="F79F5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>
                  <a:solidFill>
                    <a:schemeClr val="tx1"/>
                  </a:solidFill>
                </a:rPr>
                <a:t>Government</a:t>
              </a:r>
              <a:r>
                <a:rPr lang="hu-HU" sz="1300" b="1" dirty="0" smtClean="0">
                  <a:solidFill>
                    <a:schemeClr val="tx1"/>
                  </a:solidFill>
                </a:rPr>
                <a:t> </a:t>
              </a:r>
              <a:r>
                <a:rPr lang="hu-HU" sz="1300" b="1" dirty="0" err="1" smtClean="0">
                  <a:solidFill>
                    <a:schemeClr val="tx1"/>
                  </a:solidFill>
                </a:rPr>
                <a:t>Offices</a:t>
              </a:r>
              <a:endParaRPr lang="hu-HU" sz="1300" b="1" dirty="0">
                <a:solidFill>
                  <a:schemeClr val="tx1"/>
                </a:solidFill>
              </a:endParaRPr>
            </a:p>
          </p:txBody>
        </p:sp>
        <p:sp>
          <p:nvSpPr>
            <p:cNvPr id="112" name="Téglalap 111"/>
            <p:cNvSpPr/>
            <p:nvPr/>
          </p:nvSpPr>
          <p:spPr>
            <a:xfrm>
              <a:off x="6057399" y="2768336"/>
              <a:ext cx="1327187" cy="57606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/>
                <a:t>NISZ </a:t>
              </a:r>
              <a:r>
                <a:rPr lang="hu-HU" sz="1300" b="1" dirty="0" smtClean="0"/>
                <a:t>(</a:t>
              </a:r>
              <a:r>
                <a:rPr lang="hu-HU" sz="1300" b="1" dirty="0"/>
                <a:t>IT </a:t>
              </a:r>
              <a:r>
                <a:rPr lang="hu-HU" sz="1300" b="1" dirty="0" err="1"/>
                <a:t>infrastructure</a:t>
              </a:r>
              <a:r>
                <a:rPr lang="hu-HU" sz="1300" b="1" dirty="0"/>
                <a:t>)</a:t>
              </a:r>
            </a:p>
          </p:txBody>
        </p:sp>
        <p:sp>
          <p:nvSpPr>
            <p:cNvPr id="113" name="Téglalap 112"/>
            <p:cNvSpPr/>
            <p:nvPr/>
          </p:nvSpPr>
          <p:spPr>
            <a:xfrm>
              <a:off x="980837" y="4238122"/>
              <a:ext cx="1296144" cy="57606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/>
                <a:t>Disability</a:t>
              </a:r>
              <a:r>
                <a:rPr lang="hu-HU" sz="1300" b="1" dirty="0" smtClean="0"/>
                <a:t> </a:t>
              </a:r>
              <a:r>
                <a:rPr lang="hu-HU" sz="1300" b="1" dirty="0" err="1" smtClean="0"/>
                <a:t>services</a:t>
              </a:r>
              <a:r>
                <a:rPr lang="hu-HU" sz="1300" b="1" dirty="0" smtClean="0"/>
                <a:t> </a:t>
              </a:r>
              <a:endParaRPr lang="hu-HU" sz="1300" b="1" dirty="0"/>
            </a:p>
          </p:txBody>
        </p:sp>
        <p:sp>
          <p:nvSpPr>
            <p:cNvPr id="114" name="Téglalap 113"/>
            <p:cNvSpPr/>
            <p:nvPr/>
          </p:nvSpPr>
          <p:spPr>
            <a:xfrm>
              <a:off x="2709028" y="4246413"/>
              <a:ext cx="1296144" cy="56777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smtClean="0"/>
                <a:t>PES </a:t>
              </a:r>
              <a:r>
                <a:rPr lang="hu-HU" sz="1300" b="1" dirty="0" err="1" smtClean="0"/>
                <a:t>services</a:t>
              </a:r>
              <a:endParaRPr lang="hu-HU" sz="1300" b="1" dirty="0"/>
            </a:p>
          </p:txBody>
        </p:sp>
        <p:sp>
          <p:nvSpPr>
            <p:cNvPr id="115" name="Téglalap 114"/>
            <p:cNvSpPr/>
            <p:nvPr/>
          </p:nvSpPr>
          <p:spPr>
            <a:xfrm>
              <a:off x="4331969" y="4265592"/>
              <a:ext cx="1296144" cy="54859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/>
                <a:t>p</a:t>
              </a:r>
              <a:r>
                <a:rPr lang="hu-HU" sz="1300" b="1" dirty="0" err="1" smtClean="0"/>
                <a:t>ublic</a:t>
              </a:r>
              <a:r>
                <a:rPr lang="hu-HU" sz="1300" b="1" dirty="0" smtClean="0"/>
                <a:t> </a:t>
              </a:r>
              <a:r>
                <a:rPr lang="hu-HU" sz="1300" b="1" dirty="0" err="1" smtClean="0"/>
                <a:t>work</a:t>
              </a:r>
              <a:r>
                <a:rPr lang="hu-HU" sz="1300" b="1" dirty="0" smtClean="0"/>
                <a:t> management</a:t>
              </a:r>
              <a:endParaRPr lang="hu-HU" sz="1300" b="1" dirty="0"/>
            </a:p>
          </p:txBody>
        </p:sp>
        <p:sp>
          <p:nvSpPr>
            <p:cNvPr id="116" name="Téglalap 115"/>
            <p:cNvSpPr/>
            <p:nvPr/>
          </p:nvSpPr>
          <p:spPr>
            <a:xfrm>
              <a:off x="5949389" y="4251856"/>
              <a:ext cx="1296144" cy="57606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/>
                <a:t>other</a:t>
              </a:r>
              <a:r>
                <a:rPr lang="hu-HU" sz="1300" b="1" dirty="0" smtClean="0"/>
                <a:t> local </a:t>
              </a:r>
              <a:r>
                <a:rPr lang="hu-HU" sz="1300" b="1" dirty="0" err="1" smtClean="0"/>
                <a:t>services</a:t>
              </a:r>
              <a:endParaRPr lang="hu-HU" sz="1300" b="1" dirty="0"/>
            </a:p>
          </p:txBody>
        </p:sp>
        <p:sp>
          <p:nvSpPr>
            <p:cNvPr id="117" name="Téglalap 116"/>
            <p:cNvSpPr/>
            <p:nvPr/>
          </p:nvSpPr>
          <p:spPr>
            <a:xfrm>
              <a:off x="548790" y="1760224"/>
              <a:ext cx="1440160" cy="864096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/>
                <a:t>Ministry</a:t>
              </a:r>
              <a:r>
                <a:rPr lang="hu-HU" sz="1300" b="1" dirty="0" smtClean="0"/>
                <a:t> of Human </a:t>
              </a:r>
              <a:r>
                <a:rPr lang="hu-HU" sz="1300" b="1" dirty="0" err="1" smtClean="0"/>
                <a:t>Capacities</a:t>
              </a:r>
              <a:endParaRPr lang="hu-HU" sz="1300" b="1" dirty="0"/>
            </a:p>
          </p:txBody>
        </p:sp>
        <p:sp>
          <p:nvSpPr>
            <p:cNvPr id="118" name="Téglalap 117"/>
            <p:cNvSpPr/>
            <p:nvPr/>
          </p:nvSpPr>
          <p:spPr>
            <a:xfrm>
              <a:off x="2493004" y="1760224"/>
              <a:ext cx="1368153" cy="864096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/>
                <a:t>Prime</a:t>
              </a:r>
              <a:r>
                <a:rPr lang="hu-HU" sz="1300" b="1" dirty="0" smtClean="0"/>
                <a:t> </a:t>
              </a:r>
              <a:r>
                <a:rPr lang="hu-HU" sz="1300" b="1" dirty="0" err="1" smtClean="0"/>
                <a:t>Ministers</a:t>
              </a:r>
              <a:r>
                <a:rPr lang="hu-HU" sz="1300" b="1" dirty="0" smtClean="0"/>
                <a:t>’ Office</a:t>
              </a:r>
              <a:endParaRPr lang="hu-HU" sz="1300" b="1" dirty="0"/>
            </a:p>
          </p:txBody>
        </p:sp>
        <p:sp>
          <p:nvSpPr>
            <p:cNvPr id="119" name="Téglalap 118"/>
            <p:cNvSpPr/>
            <p:nvPr/>
          </p:nvSpPr>
          <p:spPr>
            <a:xfrm>
              <a:off x="4318169" y="1760224"/>
              <a:ext cx="1271181" cy="864096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/>
                <a:t>Ministry</a:t>
              </a:r>
              <a:r>
                <a:rPr lang="hu-HU" sz="1300" b="1" dirty="0" smtClean="0"/>
                <a:t> </a:t>
              </a:r>
              <a:r>
                <a:rPr lang="hu-HU" sz="1300" b="1" dirty="0" err="1" smtClean="0"/>
                <a:t>for</a:t>
              </a:r>
              <a:r>
                <a:rPr lang="hu-HU" sz="1300" b="1" dirty="0" smtClean="0"/>
                <a:t> National </a:t>
              </a:r>
              <a:r>
                <a:rPr lang="hu-HU" sz="1300" b="1" dirty="0" err="1" smtClean="0"/>
                <a:t>Economy</a:t>
              </a:r>
              <a:r>
                <a:rPr lang="hu-HU" sz="1300" b="1" dirty="0" smtClean="0"/>
                <a:t>     (</a:t>
              </a:r>
              <a:r>
                <a:rPr lang="hu-HU" sz="1300" b="1" dirty="0" err="1" smtClean="0"/>
                <a:t>head</a:t>
              </a:r>
              <a:r>
                <a:rPr lang="hu-HU" sz="1300" b="1" dirty="0" smtClean="0"/>
                <a:t> of PES)</a:t>
              </a:r>
              <a:endParaRPr lang="hu-HU" sz="1300" b="1" dirty="0"/>
            </a:p>
          </p:txBody>
        </p:sp>
        <p:sp>
          <p:nvSpPr>
            <p:cNvPr id="120" name="Téglalap 119"/>
            <p:cNvSpPr/>
            <p:nvPr/>
          </p:nvSpPr>
          <p:spPr>
            <a:xfrm>
              <a:off x="6057400" y="1760224"/>
              <a:ext cx="1327187" cy="864096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/>
                <a:t>Ministry</a:t>
              </a:r>
              <a:r>
                <a:rPr lang="hu-HU" sz="1300" b="1" dirty="0" smtClean="0"/>
                <a:t> of </a:t>
              </a:r>
              <a:r>
                <a:rPr lang="hu-HU" sz="1300" b="1" dirty="0" err="1" smtClean="0"/>
                <a:t>Interior</a:t>
              </a:r>
              <a:endParaRPr lang="hu-HU" sz="1300" b="1" dirty="0"/>
            </a:p>
          </p:txBody>
        </p:sp>
        <p:sp>
          <p:nvSpPr>
            <p:cNvPr id="121" name="Szövegdoboz 120"/>
            <p:cNvSpPr txBox="1"/>
            <p:nvPr/>
          </p:nvSpPr>
          <p:spPr>
            <a:xfrm>
              <a:off x="7640825" y="2455043"/>
              <a:ext cx="14401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600" b="1" dirty="0" smtClean="0"/>
                <a:t>National </a:t>
              </a:r>
              <a:r>
                <a:rPr lang="hu-HU" sz="1600" b="1" dirty="0" err="1" smtClean="0"/>
                <a:t>level</a:t>
              </a:r>
              <a:endParaRPr lang="hu-HU" sz="1600" b="1" dirty="0"/>
            </a:p>
          </p:txBody>
        </p:sp>
        <p:sp>
          <p:nvSpPr>
            <p:cNvPr id="122" name="Szövegdoboz 121"/>
            <p:cNvSpPr txBox="1"/>
            <p:nvPr/>
          </p:nvSpPr>
          <p:spPr>
            <a:xfrm>
              <a:off x="7684917" y="4055501"/>
              <a:ext cx="14401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600" b="1" dirty="0" err="1" smtClean="0"/>
                <a:t>County</a:t>
              </a:r>
              <a:r>
                <a:rPr lang="hu-HU" sz="1600" b="1" dirty="0" smtClean="0"/>
                <a:t> </a:t>
              </a:r>
              <a:r>
                <a:rPr lang="hu-HU" sz="1600" b="1" dirty="0" err="1" smtClean="0"/>
                <a:t>level</a:t>
              </a:r>
              <a:endParaRPr lang="hu-HU" sz="1600" b="1" dirty="0"/>
            </a:p>
          </p:txBody>
        </p:sp>
        <p:sp>
          <p:nvSpPr>
            <p:cNvPr id="123" name="Szövegdoboz 122"/>
            <p:cNvSpPr txBox="1"/>
            <p:nvPr/>
          </p:nvSpPr>
          <p:spPr>
            <a:xfrm>
              <a:off x="7733421" y="5718665"/>
              <a:ext cx="14401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600" b="1" dirty="0" err="1" smtClean="0"/>
                <a:t>District</a:t>
              </a:r>
              <a:r>
                <a:rPr lang="hu-HU" sz="1600" b="1" dirty="0" smtClean="0"/>
                <a:t> </a:t>
              </a:r>
              <a:r>
                <a:rPr lang="hu-HU" sz="1600" b="1" dirty="0" err="1" smtClean="0"/>
                <a:t>level</a:t>
              </a:r>
              <a:endParaRPr lang="hu-HU" sz="1600" b="1" dirty="0"/>
            </a:p>
          </p:txBody>
        </p:sp>
        <p:cxnSp>
          <p:nvCxnSpPr>
            <p:cNvPr id="124" name="Egyenes összekötő 123"/>
            <p:cNvCxnSpPr/>
            <p:nvPr/>
          </p:nvCxnSpPr>
          <p:spPr>
            <a:xfrm flipH="1">
              <a:off x="1135237" y="1472192"/>
              <a:ext cx="573987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Egyenes összekötő nyíllal 124"/>
            <p:cNvCxnSpPr/>
            <p:nvPr/>
          </p:nvCxnSpPr>
          <p:spPr>
            <a:xfrm>
              <a:off x="1144472" y="1463504"/>
              <a:ext cx="0" cy="29672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Egyenes összekötő nyíllal 125"/>
            <p:cNvCxnSpPr/>
            <p:nvPr/>
          </p:nvCxnSpPr>
          <p:spPr>
            <a:xfrm>
              <a:off x="3177080" y="1472192"/>
              <a:ext cx="0" cy="29672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Egyenes összekötő nyíllal 126"/>
            <p:cNvCxnSpPr/>
            <p:nvPr/>
          </p:nvCxnSpPr>
          <p:spPr>
            <a:xfrm>
              <a:off x="4976248" y="1463504"/>
              <a:ext cx="0" cy="29672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Egyenes összekötő nyíllal 127"/>
            <p:cNvCxnSpPr/>
            <p:nvPr/>
          </p:nvCxnSpPr>
          <p:spPr>
            <a:xfrm>
              <a:off x="6875107" y="1472192"/>
              <a:ext cx="0" cy="29672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Egyenes összekötő nyíllal 128"/>
            <p:cNvCxnSpPr/>
            <p:nvPr/>
          </p:nvCxnSpPr>
          <p:spPr>
            <a:xfrm flipH="1">
              <a:off x="1144473" y="2624320"/>
              <a:ext cx="1" cy="144016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Egyenes összekötő nyíllal 129"/>
            <p:cNvCxnSpPr>
              <a:endCxn id="111" idx="0"/>
            </p:cNvCxnSpPr>
            <p:nvPr/>
          </p:nvCxnSpPr>
          <p:spPr>
            <a:xfrm flipH="1">
              <a:off x="3165587" y="2619207"/>
              <a:ext cx="11496" cy="86023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Egyenes összekötő nyíllal 130"/>
            <p:cNvCxnSpPr/>
            <p:nvPr/>
          </p:nvCxnSpPr>
          <p:spPr>
            <a:xfrm flipH="1">
              <a:off x="3491880" y="2624320"/>
              <a:ext cx="1484370" cy="855117"/>
            </a:xfrm>
            <a:prstGeom prst="straightConnector1">
              <a:avLst/>
            </a:prstGeom>
            <a:ln w="9525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Szövegdoboz 131"/>
            <p:cNvSpPr txBox="1"/>
            <p:nvPr/>
          </p:nvSpPr>
          <p:spPr>
            <a:xfrm>
              <a:off x="1793844" y="836712"/>
              <a:ext cx="5030174" cy="719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3600" b="1" dirty="0">
                  <a:solidFill>
                    <a:schemeClr val="accent2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PES </a:t>
              </a:r>
              <a:r>
                <a:rPr lang="hu-HU" sz="3600" b="1" dirty="0" err="1">
                  <a:solidFill>
                    <a:schemeClr val="accent2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structure</a:t>
              </a:r>
              <a:r>
                <a:rPr lang="hu-HU" sz="3600" b="1" dirty="0">
                  <a:solidFill>
                    <a:schemeClr val="accent2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hu-HU" sz="3600" b="1" dirty="0" err="1">
                  <a:solidFill>
                    <a:schemeClr val="accent2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in</a:t>
              </a:r>
              <a:r>
                <a:rPr lang="hu-HU" sz="3600" b="1" dirty="0">
                  <a:solidFill>
                    <a:schemeClr val="accent2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 2017</a:t>
              </a:r>
            </a:p>
          </p:txBody>
        </p:sp>
        <p:cxnSp>
          <p:nvCxnSpPr>
            <p:cNvPr id="133" name="Egyenes összekötő nyíllal 132"/>
            <p:cNvCxnSpPr/>
            <p:nvPr/>
          </p:nvCxnSpPr>
          <p:spPr>
            <a:xfrm>
              <a:off x="764813" y="3344400"/>
              <a:ext cx="0" cy="1195489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Egyenes összekötő 133"/>
            <p:cNvCxnSpPr/>
            <p:nvPr/>
          </p:nvCxnSpPr>
          <p:spPr>
            <a:xfrm flipH="1">
              <a:off x="769355" y="4539889"/>
              <a:ext cx="211482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Egyenes összekötő nyíllal 134"/>
            <p:cNvCxnSpPr>
              <a:stCxn id="111" idx="2"/>
            </p:cNvCxnSpPr>
            <p:nvPr/>
          </p:nvCxnSpPr>
          <p:spPr>
            <a:xfrm>
              <a:off x="3165587" y="4055501"/>
              <a:ext cx="0" cy="182621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Egyenes összekötő 135"/>
            <p:cNvCxnSpPr/>
            <p:nvPr/>
          </p:nvCxnSpPr>
          <p:spPr>
            <a:xfrm flipH="1" flipV="1">
              <a:off x="3861158" y="3942145"/>
              <a:ext cx="2736303" cy="230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Egyenes összekötő nyíllal 136"/>
            <p:cNvCxnSpPr/>
            <p:nvPr/>
          </p:nvCxnSpPr>
          <p:spPr>
            <a:xfrm>
              <a:off x="5016058" y="3955136"/>
              <a:ext cx="0" cy="29672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Egyenes összekötő nyíllal 137"/>
            <p:cNvCxnSpPr/>
            <p:nvPr/>
          </p:nvCxnSpPr>
          <p:spPr>
            <a:xfrm>
              <a:off x="6597461" y="3934820"/>
              <a:ext cx="0" cy="296720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Téglalap 138"/>
            <p:cNvSpPr/>
            <p:nvPr/>
          </p:nvSpPr>
          <p:spPr>
            <a:xfrm>
              <a:off x="2493006" y="5170717"/>
              <a:ext cx="1368153" cy="57606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782" tIns="47891" rIns="95782" bIns="47891" rtlCol="0" anchor="ctr"/>
            <a:lstStyle/>
            <a:p>
              <a:pPr algn="ctr"/>
              <a:r>
                <a:rPr lang="hu-HU" sz="1300" b="1" dirty="0" err="1" smtClean="0">
                  <a:solidFill>
                    <a:schemeClr val="tx1"/>
                  </a:solidFill>
                </a:rPr>
                <a:t>District</a:t>
              </a:r>
              <a:r>
                <a:rPr lang="hu-HU" sz="1300" b="1" dirty="0" smtClean="0">
                  <a:solidFill>
                    <a:schemeClr val="tx1"/>
                  </a:solidFill>
                </a:rPr>
                <a:t> </a:t>
              </a:r>
              <a:r>
                <a:rPr lang="hu-HU" sz="1300" b="1" dirty="0" err="1" smtClean="0">
                  <a:solidFill>
                    <a:schemeClr val="tx1"/>
                  </a:solidFill>
                </a:rPr>
                <a:t>offices</a:t>
              </a:r>
              <a:endParaRPr lang="hu-HU" sz="13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40" name="Egyenes összekötő nyíllal 139"/>
            <p:cNvCxnSpPr/>
            <p:nvPr/>
          </p:nvCxnSpPr>
          <p:spPr>
            <a:xfrm>
              <a:off x="2555776" y="4055501"/>
              <a:ext cx="0" cy="1115216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Egyenes összekötő nyíllal 140"/>
            <p:cNvCxnSpPr/>
            <p:nvPr/>
          </p:nvCxnSpPr>
          <p:spPr>
            <a:xfrm>
              <a:off x="3171335" y="5746781"/>
              <a:ext cx="0" cy="257445"/>
            </a:xfrm>
            <a:prstGeom prst="straightConnector1">
              <a:avLst/>
            </a:prstGeom>
            <a:ln w="1905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Szövegdoboz 141"/>
            <p:cNvSpPr txBox="1"/>
            <p:nvPr/>
          </p:nvSpPr>
          <p:spPr>
            <a:xfrm>
              <a:off x="4331969" y="5229199"/>
              <a:ext cx="3308856" cy="18505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Local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district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offices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:	 174</a:t>
              </a:r>
            </a:p>
            <a:p>
              <a:endParaRPr lang="hu-HU" sz="1400" b="1" dirty="0" smtClean="0">
                <a:solidFill>
                  <a:schemeClr val="accent2">
                    <a:lumMod val="75000"/>
                  </a:schemeClr>
                </a:solidFill>
              </a:endParaRPr>
            </a:p>
            <a:p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Capital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district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offices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: 23</a:t>
              </a:r>
            </a:p>
            <a:p>
              <a:endParaRPr lang="hu-HU" sz="1400" b="1" dirty="0" smtClean="0">
                <a:solidFill>
                  <a:schemeClr val="accent2">
                    <a:lumMod val="75000"/>
                  </a:schemeClr>
                </a:solidFill>
              </a:endParaRPr>
            </a:p>
            <a:p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Local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units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charged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b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</a:b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with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 PES </a:t>
              </a:r>
              <a:r>
                <a:rPr lang="hu-HU" sz="1400" b="1" dirty="0" err="1" smtClean="0">
                  <a:solidFill>
                    <a:schemeClr val="accent2">
                      <a:lumMod val="75000"/>
                    </a:schemeClr>
                  </a:solidFill>
                </a:rPr>
                <a:t>tasks</a:t>
              </a:r>
              <a:r>
                <a:rPr lang="hu-HU" sz="1400" b="1" dirty="0" smtClean="0">
                  <a:solidFill>
                    <a:schemeClr val="accent2">
                      <a:lumMod val="75000"/>
                    </a:schemeClr>
                  </a:solidFill>
                </a:rPr>
                <a:t>: 	  163</a:t>
              </a:r>
            </a:p>
            <a:p>
              <a:endParaRPr lang="hu-HU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143" name="Ellipszis 142"/>
            <p:cNvSpPr/>
            <p:nvPr/>
          </p:nvSpPr>
          <p:spPr>
            <a:xfrm>
              <a:off x="4067945" y="1472192"/>
              <a:ext cx="1728192" cy="157713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Cím 1"/>
          <p:cNvSpPr>
            <a:spLocks noGrp="1"/>
          </p:cNvSpPr>
          <p:nvPr>
            <p:ph type="title"/>
          </p:nvPr>
        </p:nvSpPr>
        <p:spPr>
          <a:xfrm>
            <a:off x="722313" y="1281113"/>
            <a:ext cx="7772400" cy="504825"/>
          </a:xfrm>
        </p:spPr>
        <p:txBody>
          <a:bodyPr/>
          <a:lstStyle/>
          <a:p>
            <a:r>
              <a:rPr lang="en-GB" altLang="hu-HU" sz="2000" b="1" smtClean="0"/>
              <a:t>Ongoing </a:t>
            </a:r>
            <a:r>
              <a:rPr lang="hu-HU" altLang="hu-HU" sz="2000" b="1" smtClean="0"/>
              <a:t>PES </a:t>
            </a:r>
            <a:r>
              <a:rPr lang="en-GB" altLang="hu-HU" sz="2000" b="1" smtClean="0"/>
              <a:t>developments </a:t>
            </a:r>
          </a:p>
        </p:txBody>
      </p:sp>
      <p:sp>
        <p:nvSpPr>
          <p:cNvPr id="11267" name="Tartalom helye 3"/>
          <p:cNvSpPr>
            <a:spLocks noGrp="1"/>
          </p:cNvSpPr>
          <p:nvPr>
            <p:ph idx="14"/>
          </p:nvPr>
        </p:nvSpPr>
        <p:spPr>
          <a:xfrm>
            <a:off x="755650" y="1628775"/>
            <a:ext cx="7921625" cy="4537075"/>
          </a:xfrm>
        </p:spPr>
        <p:txBody>
          <a:bodyPr/>
          <a:lstStyle/>
          <a:p>
            <a:r>
              <a:rPr lang="en-GB" altLang="hu-HU" sz="2200" dirty="0" smtClean="0"/>
              <a:t>In the framework of the EDIOP 511 programme (funded by ESF)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Evaluation and fine-tuning of the PES jobseeker profiling system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New ministerial decree on the Individual Action Plan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Cost-benefit research on ALMPs (main focus on LM training)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Building a new PES brand + communication strategy + step towards a multichannel approach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Rebuilding and reforming the self-information systems of PES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Ongoing EURES reform 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Introducing the full range of the YG from 2018 (NEET outreach) </a:t>
            </a:r>
          </a:p>
          <a:p>
            <a:pPr>
              <a:buFont typeface="Arial" pitchFamily="34" charset="0"/>
              <a:buChar char="•"/>
            </a:pPr>
            <a:r>
              <a:rPr lang="en-GB" altLang="hu-HU" sz="2200" dirty="0" smtClean="0"/>
              <a:t>Codification process of the new Ministerial Degree on LM Services (post 30/2000 GM.) </a:t>
            </a:r>
          </a:p>
          <a:p>
            <a:endParaRPr lang="hu-HU" altLang="hu-HU" sz="2200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3"/>
          <p:cNvSpPr>
            <a:spLocks noGrp="1"/>
          </p:cNvSpPr>
          <p:nvPr>
            <p:ph type="title"/>
          </p:nvPr>
        </p:nvSpPr>
        <p:spPr>
          <a:xfrm>
            <a:off x="722313" y="1281113"/>
            <a:ext cx="7772400" cy="504825"/>
          </a:xfrm>
        </p:spPr>
        <p:txBody>
          <a:bodyPr/>
          <a:lstStyle/>
          <a:p>
            <a:pPr eaLnBrk="1" hangingPunct="1"/>
            <a:r>
              <a:rPr lang="en-GB" altLang="hu-HU" smtClean="0"/>
              <a:t>Agenda for ÁFSZ 2017 and beyond </a:t>
            </a:r>
          </a:p>
        </p:txBody>
      </p:sp>
      <p:sp>
        <p:nvSpPr>
          <p:cNvPr id="12291" name="Content Placeholder 4"/>
          <p:cNvSpPr>
            <a:spLocks noGrp="1"/>
          </p:cNvSpPr>
          <p:nvPr>
            <p:ph idx="13"/>
          </p:nvPr>
        </p:nvSpPr>
        <p:spPr>
          <a:xfrm>
            <a:off x="785813" y="2133600"/>
            <a:ext cx="7572375" cy="4152900"/>
          </a:xfrm>
          <a:ln/>
        </p:spPr>
        <p:txBody>
          <a:bodyPr/>
          <a:lstStyle/>
          <a:p>
            <a:pPr algn="just" eaLnBrk="1" hangingPunct="1">
              <a:buFont typeface="Arial" pitchFamily="34" charset="0"/>
              <a:buChar char="•"/>
            </a:pPr>
            <a:r>
              <a:rPr lang="en-US" altLang="hu-HU" b="1" dirty="0" smtClean="0"/>
              <a:t>Decreasing Public Work, Competitive Workforce</a:t>
            </a:r>
            <a:r>
              <a:rPr lang="hu-HU" altLang="hu-HU" dirty="0" smtClean="0"/>
              <a:t>: </a:t>
            </a:r>
            <a:r>
              <a:rPr lang="en-US" altLang="hu-HU" dirty="0" smtClean="0"/>
              <a:t>The </a:t>
            </a:r>
            <a:r>
              <a:rPr lang="en-US" altLang="hu-HU" dirty="0" err="1" smtClean="0"/>
              <a:t>programme</a:t>
            </a:r>
            <a:r>
              <a:rPr lang="en-US" altLang="hu-HU" dirty="0" smtClean="0"/>
              <a:t> is expected to reduce the number of registered jobseekers by supporting more than 188,000 jobseekers or inactive people by the end of 2021 </a:t>
            </a:r>
            <a:endParaRPr lang="hu-HU" altLang="hu-HU" dirty="0" smtClean="0"/>
          </a:p>
          <a:p>
            <a:pPr algn="just" eaLnBrk="1" hangingPunct="1">
              <a:buFont typeface="Arial" pitchFamily="34" charset="0"/>
              <a:buChar char="•"/>
            </a:pPr>
            <a:r>
              <a:rPr lang="hu-HU" altLang="hu-HU" dirty="0" smtClean="0"/>
              <a:t>T</a:t>
            </a:r>
            <a:r>
              <a:rPr lang="en-US" altLang="hu-HU" dirty="0" smtClean="0"/>
              <a:t>he </a:t>
            </a:r>
            <a:r>
              <a:rPr lang="en-US" altLang="hu-HU" b="1" dirty="0" smtClean="0"/>
              <a:t>Youth Guarantee System</a:t>
            </a:r>
            <a:r>
              <a:rPr lang="en-US" altLang="hu-HU" dirty="0" smtClean="0"/>
              <a:t>, and they have become available until the end of the programming period. The </a:t>
            </a:r>
            <a:r>
              <a:rPr lang="en-US" altLang="hu-HU" dirty="0" err="1" smtClean="0"/>
              <a:t>programmes</a:t>
            </a:r>
            <a:r>
              <a:rPr lang="en-US" altLang="hu-HU" dirty="0" smtClean="0"/>
              <a:t> support about 180,000 young people to gain employment or earn marketable qualifications with a total budget of HUF 235 billion until the end of 2021.  </a:t>
            </a:r>
            <a:endParaRPr lang="hu-HU" altLang="hu-HU" dirty="0" smtClean="0"/>
          </a:p>
          <a:p>
            <a:pPr algn="just" eaLnBrk="1" hangingPunct="1">
              <a:buFont typeface="Arial" pitchFamily="34" charset="0"/>
              <a:buChar char="•"/>
            </a:pPr>
            <a:r>
              <a:rPr lang="en-US" altLang="hu-HU" b="1" dirty="0" smtClean="0"/>
              <a:t>Fine-tuning of the client-profiling system (profiling) </a:t>
            </a:r>
            <a:r>
              <a:rPr lang="en-US" altLang="hu-HU" dirty="0" smtClean="0"/>
              <a:t>launched in 2016 and development of NES (National Employment Service) </a:t>
            </a:r>
            <a:endParaRPr lang="hu-HU" altLang="hu-HU" dirty="0" smtClean="0"/>
          </a:p>
          <a:p>
            <a:pPr algn="just" eaLnBrk="1" hangingPunct="1">
              <a:buFont typeface="Arial" pitchFamily="34" charset="0"/>
              <a:buChar char="•"/>
            </a:pPr>
            <a:r>
              <a:rPr lang="en-GB" altLang="hu-HU" dirty="0" smtClean="0"/>
              <a:t>Finally one of the burning issues is the </a:t>
            </a:r>
            <a:r>
              <a:rPr lang="en-GB" altLang="hu-HU" b="1" dirty="0" smtClean="0"/>
              <a:t>relation with for-profit employers and the number of open vacancies </a:t>
            </a:r>
            <a:r>
              <a:rPr lang="en-GB" altLang="hu-HU" dirty="0" smtClean="0"/>
              <a:t>from the primary labour market in the PES customer system </a:t>
            </a:r>
            <a:r>
              <a:rPr lang="hu-HU" altLang="hu-HU" dirty="0" smtClean="0"/>
              <a:t>(IR). </a:t>
            </a:r>
          </a:p>
          <a:p>
            <a:pPr eaLnBrk="1" hangingPunct="1"/>
            <a:endParaRPr lang="hu-HU" altLang="hu-HU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Diagram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6594506"/>
              </p:ext>
            </p:extLst>
          </p:nvPr>
        </p:nvGraphicFramePr>
        <p:xfrm>
          <a:off x="755575" y="1628800"/>
          <a:ext cx="8064897" cy="4839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artalom helye 2"/>
          <p:cNvSpPr>
            <a:spLocks noGrp="1"/>
          </p:cNvSpPr>
          <p:nvPr>
            <p:ph idx="4294967295"/>
          </p:nvPr>
        </p:nvSpPr>
        <p:spPr>
          <a:xfrm>
            <a:off x="468313" y="1196975"/>
            <a:ext cx="8135937" cy="576263"/>
          </a:xfrm>
          <a:prstGeom prst="rect">
            <a:avLst/>
          </a:prstGeom>
        </p:spPr>
        <p:txBody>
          <a:bodyPr/>
          <a:lstStyle/>
          <a:p>
            <a:pPr marL="0" indent="0" algn="ctr" eaLnBrk="1" hangingPunct="1">
              <a:spcBef>
                <a:spcPct val="0"/>
              </a:spcBef>
              <a:buFont typeface="Arial" charset="0"/>
              <a:buNone/>
              <a:defRPr/>
            </a:pPr>
            <a:r>
              <a:rPr lang="hu-HU" altLang="hu-HU" b="1" dirty="0" err="1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Employment</a:t>
            </a:r>
            <a:r>
              <a:rPr lang="hu-HU" altLang="hu-HU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and </a:t>
            </a:r>
            <a:r>
              <a:rPr lang="hu-HU" altLang="hu-HU" b="1" dirty="0" err="1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unemployment</a:t>
            </a:r>
            <a:endParaRPr lang="hu-HU" altLang="hu-HU" b="1" dirty="0">
              <a:solidFill>
                <a:schemeClr val="accent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  <a:defRPr/>
            </a:pPr>
            <a:endParaRPr lang="hu-HU" altLang="hu-HU" sz="22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1200"/>
              </a:spcBef>
              <a:buFont typeface="Arial" charset="0"/>
              <a:buNone/>
              <a:defRPr/>
            </a:pPr>
            <a:endParaRPr lang="hu-HU" altLang="hu-HU" sz="2800" dirty="0" smtClean="0"/>
          </a:p>
        </p:txBody>
      </p:sp>
    </p:spTree>
    <p:extLst>
      <p:ext uri="{BB962C8B-B14F-4D97-AF65-F5344CB8AC3E}">
        <p14:creationId xmlns:p14="http://schemas.microsoft.com/office/powerpoint/2010/main" val="294613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artalom helye 2"/>
          <p:cNvSpPr>
            <a:spLocks noGrp="1"/>
          </p:cNvSpPr>
          <p:nvPr>
            <p:ph idx="4294967295"/>
          </p:nvPr>
        </p:nvSpPr>
        <p:spPr>
          <a:xfrm>
            <a:off x="468313" y="1196975"/>
            <a:ext cx="8135937" cy="576263"/>
          </a:xfrm>
          <a:prstGeom prst="rect">
            <a:avLst/>
          </a:prstGeom>
        </p:spPr>
        <p:txBody>
          <a:bodyPr/>
          <a:lstStyle/>
          <a:p>
            <a:pPr marL="0" indent="0" algn="ctr" eaLnBrk="1" hangingPunct="1">
              <a:spcBef>
                <a:spcPct val="0"/>
              </a:spcBef>
              <a:buFont typeface="Arial" charset="0"/>
              <a:buNone/>
              <a:defRPr/>
            </a:pPr>
            <a:r>
              <a:rPr lang="hu-HU" altLang="hu-HU" b="1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E</a:t>
            </a:r>
            <a:r>
              <a:rPr lang="en-US" altLang="hu-HU" b="1" dirty="0" err="1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mployment</a:t>
            </a:r>
            <a:r>
              <a:rPr lang="en-US" altLang="hu-HU" b="1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rate by schooling 2010, 2017</a:t>
            </a:r>
            <a:r>
              <a:rPr lang="hu-HU" altLang="hu-HU" b="1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/>
            </a:r>
            <a:br>
              <a:rPr lang="hu-HU" altLang="hu-HU" b="1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</a:br>
            <a:endParaRPr lang="en-US" altLang="hu-HU" b="1" dirty="0" smtClean="0">
              <a:solidFill>
                <a:schemeClr val="accent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  <a:defRPr/>
            </a:pPr>
            <a:endParaRPr lang="en-US" altLang="hu-HU" sz="22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1200"/>
              </a:spcBef>
              <a:buFont typeface="Arial" charset="0"/>
              <a:buNone/>
              <a:defRPr/>
            </a:pPr>
            <a:endParaRPr lang="en-US" altLang="hu-HU" sz="2800" dirty="0" smtClean="0"/>
          </a:p>
        </p:txBody>
      </p:sp>
      <p:graphicFrame>
        <p:nvGraphicFramePr>
          <p:cNvPr id="4" name="Diagram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739392"/>
              </p:ext>
            </p:extLst>
          </p:nvPr>
        </p:nvGraphicFramePr>
        <p:xfrm>
          <a:off x="611560" y="1700808"/>
          <a:ext cx="7992888" cy="476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2098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3187576"/>
              </p:ext>
            </p:extLst>
          </p:nvPr>
        </p:nvGraphicFramePr>
        <p:xfrm>
          <a:off x="323528" y="1469823"/>
          <a:ext cx="8432427" cy="5381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artalom helye 2"/>
          <p:cNvSpPr>
            <a:spLocks noGrp="1"/>
          </p:cNvSpPr>
          <p:nvPr>
            <p:ph idx="4294967295"/>
          </p:nvPr>
        </p:nvSpPr>
        <p:spPr>
          <a:xfrm>
            <a:off x="468313" y="1196975"/>
            <a:ext cx="8135937" cy="576263"/>
          </a:xfrm>
          <a:prstGeom prst="rect">
            <a:avLst/>
          </a:prstGeom>
        </p:spPr>
        <p:txBody>
          <a:bodyPr/>
          <a:lstStyle/>
          <a:p>
            <a:pPr marL="0" indent="0" algn="ctr" eaLnBrk="1" hangingPunct="1">
              <a:spcBef>
                <a:spcPct val="0"/>
              </a:spcBef>
              <a:buFont typeface="Arial" charset="0"/>
              <a:buNone/>
              <a:defRPr/>
            </a:pPr>
            <a:r>
              <a:rPr lang="en-US" altLang="hu-HU" sz="2400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RATIO OF PERSONS WITH DIFFERENT QUALIFICATION LEVEL AMONG REGISTERED UNEMPLOYED AND THOSE INVOLVED IN PUBLIC EMPLOYMENT - APRIL, 2017 (%)</a:t>
            </a:r>
            <a:endParaRPr lang="en-US" altLang="hu-HU" sz="18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1200"/>
              </a:spcBef>
              <a:buFont typeface="Arial" charset="0"/>
              <a:buNone/>
              <a:defRPr/>
            </a:pPr>
            <a:endParaRPr lang="en-US" altLang="hu-HU" sz="2000" dirty="0" smtClean="0"/>
          </a:p>
        </p:txBody>
      </p:sp>
    </p:spTree>
    <p:extLst>
      <p:ext uri="{BB962C8B-B14F-4D97-AF65-F5344CB8AC3E}">
        <p14:creationId xmlns:p14="http://schemas.microsoft.com/office/powerpoint/2010/main" val="194470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5" name="Picture 1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82688"/>
            <a:ext cx="9144000" cy="5137150"/>
          </a:xfrm>
          <a:prstGeom prst="rect">
            <a:avLst/>
          </a:prstGeom>
          <a:solidFill>
            <a:srgbClr val="055C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Title 1"/>
          <p:cNvSpPr>
            <a:spLocks noGrp="1"/>
          </p:cNvSpPr>
          <p:nvPr>
            <p:ph type="title"/>
          </p:nvPr>
        </p:nvSpPr>
        <p:spPr>
          <a:xfrm>
            <a:off x="246857" y="1387588"/>
            <a:ext cx="4398168" cy="628650"/>
          </a:xfrm>
        </p:spPr>
        <p:txBody>
          <a:bodyPr/>
          <a:lstStyle/>
          <a:p>
            <a:r>
              <a:rPr lang="en-GB" altLang="hu-HU" sz="3200" b="1" dirty="0">
                <a:solidFill>
                  <a:schemeClr val="accent2">
                    <a:lumMod val="50000"/>
                  </a:schemeClr>
                </a:solidFill>
              </a:rPr>
              <a:t>Regional imbalance between the supply and demand sides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122238" y="6640513"/>
            <a:ext cx="7345362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 eaLnBrk="1" hangingPunct="1">
              <a:tabLst>
                <a:tab pos="625214" algn="l"/>
              </a:tabLst>
              <a:defRPr/>
            </a:pPr>
            <a:r>
              <a:rPr lang="hu-HU" sz="800" dirty="0">
                <a:solidFill>
                  <a:srgbClr val="808080"/>
                </a:solidFill>
                <a:latin typeface="+mn-lt"/>
                <a:cs typeface="Arial" charset="0"/>
              </a:rPr>
              <a:t>Forrás</a:t>
            </a:r>
            <a:r>
              <a:rPr lang="en-US" sz="800" dirty="0">
                <a:solidFill>
                  <a:srgbClr val="808080"/>
                </a:solidFill>
                <a:latin typeface="+mn-lt"/>
                <a:cs typeface="Arial" charset="0"/>
              </a:rPr>
              <a:t>: </a:t>
            </a:r>
            <a:r>
              <a:rPr lang="hu-HU" sz="800" dirty="0">
                <a:solidFill>
                  <a:srgbClr val="808080"/>
                </a:solidFill>
                <a:latin typeface="+mn-lt"/>
                <a:cs typeface="Arial" charset="0"/>
              </a:rPr>
              <a:t>NGM</a:t>
            </a:r>
            <a:endParaRPr lang="en-US" sz="800" dirty="0">
              <a:solidFill>
                <a:srgbClr val="808080"/>
              </a:solidFill>
              <a:latin typeface="+mn-lt"/>
              <a:cs typeface="Arial" charset="0"/>
            </a:endParaRPr>
          </a:p>
        </p:txBody>
      </p:sp>
      <p:sp>
        <p:nvSpPr>
          <p:cNvPr id="63" name="Freeform 7"/>
          <p:cNvSpPr>
            <a:spLocks/>
          </p:cNvSpPr>
          <p:nvPr/>
        </p:nvSpPr>
        <p:spPr bwMode="gray">
          <a:xfrm>
            <a:off x="6232525" y="966788"/>
            <a:ext cx="2306638" cy="1576387"/>
          </a:xfrm>
          <a:custGeom>
            <a:avLst/>
            <a:gdLst>
              <a:gd name="T0" fmla="*/ 103025 w 2394"/>
              <a:gd name="T1" fmla="*/ 109415 h 1638"/>
              <a:gd name="T2" fmla="*/ 96484 w 2394"/>
              <a:gd name="T3" fmla="*/ 115130 h 1638"/>
              <a:gd name="T4" fmla="*/ 92395 w 2394"/>
              <a:gd name="T5" fmla="*/ 105332 h 1638"/>
              <a:gd name="T6" fmla="*/ 83401 w 2394"/>
              <a:gd name="T7" fmla="*/ 106149 h 1638"/>
              <a:gd name="T8" fmla="*/ 78495 w 2394"/>
              <a:gd name="T9" fmla="*/ 113497 h 1638"/>
              <a:gd name="T10" fmla="*/ 67866 w 2394"/>
              <a:gd name="T11" fmla="*/ 109415 h 1638"/>
              <a:gd name="T12" fmla="*/ 57236 w 2394"/>
              <a:gd name="T13" fmla="*/ 105332 h 1638"/>
              <a:gd name="T14" fmla="*/ 49060 w 2394"/>
              <a:gd name="T15" fmla="*/ 94717 h 1638"/>
              <a:gd name="T16" fmla="*/ 47424 w 2394"/>
              <a:gd name="T17" fmla="*/ 82469 h 1638"/>
              <a:gd name="T18" fmla="*/ 32706 w 2394"/>
              <a:gd name="T19" fmla="*/ 85735 h 1638"/>
              <a:gd name="T20" fmla="*/ 22077 w 2394"/>
              <a:gd name="T21" fmla="*/ 89001 h 1638"/>
              <a:gd name="T22" fmla="*/ 11447 w 2394"/>
              <a:gd name="T23" fmla="*/ 83286 h 1638"/>
              <a:gd name="T24" fmla="*/ 0 w 2394"/>
              <a:gd name="T25" fmla="*/ 78387 h 1638"/>
              <a:gd name="T26" fmla="*/ 4088 w 2394"/>
              <a:gd name="T27" fmla="*/ 71854 h 1638"/>
              <a:gd name="T28" fmla="*/ 11447 w 2394"/>
              <a:gd name="T29" fmla="*/ 74304 h 1638"/>
              <a:gd name="T30" fmla="*/ 17171 w 2394"/>
              <a:gd name="T31" fmla="*/ 69405 h 1638"/>
              <a:gd name="T32" fmla="*/ 30253 w 2394"/>
              <a:gd name="T33" fmla="*/ 68588 h 1638"/>
              <a:gd name="T34" fmla="*/ 33524 w 2394"/>
              <a:gd name="T35" fmla="*/ 61240 h 1638"/>
              <a:gd name="T36" fmla="*/ 29436 w 2394"/>
              <a:gd name="T37" fmla="*/ 56340 h 1638"/>
              <a:gd name="T38" fmla="*/ 31071 w 2394"/>
              <a:gd name="T39" fmla="*/ 47359 h 1638"/>
              <a:gd name="T40" fmla="*/ 38430 w 2394"/>
              <a:gd name="T41" fmla="*/ 45726 h 1638"/>
              <a:gd name="T42" fmla="*/ 46607 w 2394"/>
              <a:gd name="T43" fmla="*/ 42459 h 1638"/>
              <a:gd name="T44" fmla="*/ 56418 w 2394"/>
              <a:gd name="T45" fmla="*/ 40010 h 1638"/>
              <a:gd name="T46" fmla="*/ 61324 w 2394"/>
              <a:gd name="T47" fmla="*/ 38377 h 1638"/>
              <a:gd name="T48" fmla="*/ 65413 w 2394"/>
              <a:gd name="T49" fmla="*/ 32661 h 1638"/>
              <a:gd name="T50" fmla="*/ 67866 w 2394"/>
              <a:gd name="T51" fmla="*/ 33478 h 1638"/>
              <a:gd name="T52" fmla="*/ 75225 w 2394"/>
              <a:gd name="T53" fmla="*/ 27762 h 1638"/>
              <a:gd name="T54" fmla="*/ 81766 w 2394"/>
              <a:gd name="T55" fmla="*/ 19597 h 1638"/>
              <a:gd name="T56" fmla="*/ 85854 w 2394"/>
              <a:gd name="T57" fmla="*/ 22046 h 1638"/>
              <a:gd name="T58" fmla="*/ 89125 w 2394"/>
              <a:gd name="T59" fmla="*/ 13064 h 1638"/>
              <a:gd name="T60" fmla="*/ 89943 w 2394"/>
              <a:gd name="T61" fmla="*/ 7349 h 1638"/>
              <a:gd name="T62" fmla="*/ 94848 w 2394"/>
              <a:gd name="T63" fmla="*/ 1633 h 1638"/>
              <a:gd name="T64" fmla="*/ 101390 w 2394"/>
              <a:gd name="T65" fmla="*/ 4083 h 1638"/>
              <a:gd name="T66" fmla="*/ 109566 w 2394"/>
              <a:gd name="T67" fmla="*/ 12248 h 1638"/>
              <a:gd name="T68" fmla="*/ 116925 w 2394"/>
              <a:gd name="T69" fmla="*/ 22863 h 1638"/>
              <a:gd name="T70" fmla="*/ 129190 w 2394"/>
              <a:gd name="T71" fmla="*/ 19597 h 1638"/>
              <a:gd name="T72" fmla="*/ 137367 w 2394"/>
              <a:gd name="T73" fmla="*/ 25312 h 1638"/>
              <a:gd name="T74" fmla="*/ 140637 w 2394"/>
              <a:gd name="T75" fmla="*/ 35111 h 1638"/>
              <a:gd name="T76" fmla="*/ 145543 w 2394"/>
              <a:gd name="T77" fmla="*/ 39193 h 1638"/>
              <a:gd name="T78" fmla="*/ 156173 w 2394"/>
              <a:gd name="T79" fmla="*/ 34294 h 1638"/>
              <a:gd name="T80" fmla="*/ 161897 w 2394"/>
              <a:gd name="T81" fmla="*/ 35111 h 1638"/>
              <a:gd name="T82" fmla="*/ 166802 w 2394"/>
              <a:gd name="T83" fmla="*/ 38377 h 1638"/>
              <a:gd name="T84" fmla="*/ 171708 w 2394"/>
              <a:gd name="T85" fmla="*/ 48992 h 1638"/>
              <a:gd name="T86" fmla="*/ 174161 w 2394"/>
              <a:gd name="T87" fmla="*/ 53891 h 1638"/>
              <a:gd name="T88" fmla="*/ 170891 w 2394"/>
              <a:gd name="T89" fmla="*/ 60423 h 1638"/>
              <a:gd name="T90" fmla="*/ 166802 w 2394"/>
              <a:gd name="T91" fmla="*/ 64506 h 1638"/>
              <a:gd name="T92" fmla="*/ 163532 w 2394"/>
              <a:gd name="T93" fmla="*/ 66139 h 1638"/>
              <a:gd name="T94" fmla="*/ 162714 w 2394"/>
              <a:gd name="T95" fmla="*/ 70221 h 1638"/>
              <a:gd name="T96" fmla="*/ 163532 w 2394"/>
              <a:gd name="T97" fmla="*/ 74304 h 1638"/>
              <a:gd name="T98" fmla="*/ 158626 w 2394"/>
              <a:gd name="T99" fmla="*/ 76754 h 1638"/>
              <a:gd name="T100" fmla="*/ 156173 w 2394"/>
              <a:gd name="T101" fmla="*/ 83286 h 1638"/>
              <a:gd name="T102" fmla="*/ 144726 w 2394"/>
              <a:gd name="T103" fmla="*/ 87368 h 1638"/>
              <a:gd name="T104" fmla="*/ 134914 w 2394"/>
              <a:gd name="T105" fmla="*/ 84102 h 1638"/>
              <a:gd name="T106" fmla="*/ 134096 w 2394"/>
              <a:gd name="T107" fmla="*/ 93084 h 1638"/>
              <a:gd name="T108" fmla="*/ 127555 w 2394"/>
              <a:gd name="T109" fmla="*/ 93084 h 1638"/>
              <a:gd name="T110" fmla="*/ 123467 w 2394"/>
              <a:gd name="T111" fmla="*/ 94717 h 1638"/>
              <a:gd name="T112" fmla="*/ 118561 w 2394"/>
              <a:gd name="T113" fmla="*/ 99616 h 1638"/>
              <a:gd name="T114" fmla="*/ 116108 w 2394"/>
              <a:gd name="T115" fmla="*/ 106149 h 1638"/>
              <a:gd name="T116" fmla="*/ 114472 w 2394"/>
              <a:gd name="T117" fmla="*/ 113497 h 1638"/>
              <a:gd name="T118" fmla="*/ 110384 w 2394"/>
              <a:gd name="T119" fmla="*/ 118396 h 163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394" h="1638">
                <a:moveTo>
                  <a:pt x="1494" y="1638"/>
                </a:moveTo>
                <a:lnTo>
                  <a:pt x="1488" y="1614"/>
                </a:lnTo>
                <a:lnTo>
                  <a:pt x="1488" y="1608"/>
                </a:lnTo>
                <a:lnTo>
                  <a:pt x="1476" y="1590"/>
                </a:lnTo>
                <a:lnTo>
                  <a:pt x="1458" y="1584"/>
                </a:lnTo>
                <a:lnTo>
                  <a:pt x="1464" y="1566"/>
                </a:lnTo>
                <a:lnTo>
                  <a:pt x="1458" y="1560"/>
                </a:lnTo>
                <a:lnTo>
                  <a:pt x="1458" y="1548"/>
                </a:lnTo>
                <a:lnTo>
                  <a:pt x="1458" y="1524"/>
                </a:lnTo>
                <a:lnTo>
                  <a:pt x="1440" y="1518"/>
                </a:lnTo>
                <a:lnTo>
                  <a:pt x="1416" y="1506"/>
                </a:lnTo>
                <a:lnTo>
                  <a:pt x="1398" y="1512"/>
                </a:lnTo>
                <a:lnTo>
                  <a:pt x="1386" y="1518"/>
                </a:lnTo>
                <a:lnTo>
                  <a:pt x="1392" y="1536"/>
                </a:lnTo>
                <a:lnTo>
                  <a:pt x="1392" y="1554"/>
                </a:lnTo>
                <a:lnTo>
                  <a:pt x="1386" y="1572"/>
                </a:lnTo>
                <a:lnTo>
                  <a:pt x="1368" y="1590"/>
                </a:lnTo>
                <a:lnTo>
                  <a:pt x="1374" y="1602"/>
                </a:lnTo>
                <a:lnTo>
                  <a:pt x="1362" y="1608"/>
                </a:lnTo>
                <a:lnTo>
                  <a:pt x="1356" y="1596"/>
                </a:lnTo>
                <a:lnTo>
                  <a:pt x="1344" y="1584"/>
                </a:lnTo>
                <a:lnTo>
                  <a:pt x="1326" y="1584"/>
                </a:lnTo>
                <a:lnTo>
                  <a:pt x="1320" y="1566"/>
                </a:lnTo>
                <a:lnTo>
                  <a:pt x="1326" y="1548"/>
                </a:lnTo>
                <a:lnTo>
                  <a:pt x="1332" y="1530"/>
                </a:lnTo>
                <a:lnTo>
                  <a:pt x="1308" y="1530"/>
                </a:lnTo>
                <a:lnTo>
                  <a:pt x="1302" y="1524"/>
                </a:lnTo>
                <a:lnTo>
                  <a:pt x="1302" y="1518"/>
                </a:lnTo>
                <a:lnTo>
                  <a:pt x="1296" y="1518"/>
                </a:lnTo>
                <a:lnTo>
                  <a:pt x="1278" y="1512"/>
                </a:lnTo>
                <a:lnTo>
                  <a:pt x="1266" y="1500"/>
                </a:lnTo>
                <a:lnTo>
                  <a:pt x="1272" y="1482"/>
                </a:lnTo>
                <a:lnTo>
                  <a:pt x="1272" y="1452"/>
                </a:lnTo>
                <a:lnTo>
                  <a:pt x="1242" y="1458"/>
                </a:lnTo>
                <a:lnTo>
                  <a:pt x="1230" y="1446"/>
                </a:lnTo>
                <a:lnTo>
                  <a:pt x="1218" y="1440"/>
                </a:lnTo>
                <a:lnTo>
                  <a:pt x="1206" y="1440"/>
                </a:lnTo>
                <a:lnTo>
                  <a:pt x="1200" y="1434"/>
                </a:lnTo>
                <a:lnTo>
                  <a:pt x="1194" y="1422"/>
                </a:lnTo>
                <a:lnTo>
                  <a:pt x="1176" y="1428"/>
                </a:lnTo>
                <a:lnTo>
                  <a:pt x="1140" y="1446"/>
                </a:lnTo>
                <a:lnTo>
                  <a:pt x="1134" y="1452"/>
                </a:lnTo>
                <a:lnTo>
                  <a:pt x="1128" y="1464"/>
                </a:lnTo>
                <a:lnTo>
                  <a:pt x="1146" y="1464"/>
                </a:lnTo>
                <a:lnTo>
                  <a:pt x="1152" y="1470"/>
                </a:lnTo>
                <a:lnTo>
                  <a:pt x="1146" y="1476"/>
                </a:lnTo>
                <a:lnTo>
                  <a:pt x="1146" y="1482"/>
                </a:lnTo>
                <a:lnTo>
                  <a:pt x="1134" y="1494"/>
                </a:lnTo>
                <a:lnTo>
                  <a:pt x="1134" y="1518"/>
                </a:lnTo>
                <a:lnTo>
                  <a:pt x="1116" y="1536"/>
                </a:lnTo>
                <a:lnTo>
                  <a:pt x="1116" y="1548"/>
                </a:lnTo>
                <a:lnTo>
                  <a:pt x="1116" y="1554"/>
                </a:lnTo>
                <a:lnTo>
                  <a:pt x="1110" y="1560"/>
                </a:lnTo>
                <a:lnTo>
                  <a:pt x="1092" y="1572"/>
                </a:lnTo>
                <a:lnTo>
                  <a:pt x="1080" y="1560"/>
                </a:lnTo>
                <a:lnTo>
                  <a:pt x="1062" y="1560"/>
                </a:lnTo>
                <a:lnTo>
                  <a:pt x="1050" y="1542"/>
                </a:lnTo>
                <a:lnTo>
                  <a:pt x="1014" y="1536"/>
                </a:lnTo>
                <a:lnTo>
                  <a:pt x="1014" y="1554"/>
                </a:lnTo>
                <a:lnTo>
                  <a:pt x="1002" y="1548"/>
                </a:lnTo>
                <a:lnTo>
                  <a:pt x="996" y="1530"/>
                </a:lnTo>
                <a:lnTo>
                  <a:pt x="996" y="1518"/>
                </a:lnTo>
                <a:lnTo>
                  <a:pt x="972" y="1518"/>
                </a:lnTo>
                <a:lnTo>
                  <a:pt x="960" y="1518"/>
                </a:lnTo>
                <a:lnTo>
                  <a:pt x="948" y="1512"/>
                </a:lnTo>
                <a:lnTo>
                  <a:pt x="936" y="1506"/>
                </a:lnTo>
                <a:lnTo>
                  <a:pt x="918" y="1512"/>
                </a:lnTo>
                <a:lnTo>
                  <a:pt x="894" y="1476"/>
                </a:lnTo>
                <a:lnTo>
                  <a:pt x="882" y="1476"/>
                </a:lnTo>
                <a:lnTo>
                  <a:pt x="876" y="1494"/>
                </a:lnTo>
                <a:lnTo>
                  <a:pt x="870" y="1494"/>
                </a:lnTo>
                <a:lnTo>
                  <a:pt x="840" y="1494"/>
                </a:lnTo>
                <a:lnTo>
                  <a:pt x="834" y="1494"/>
                </a:lnTo>
                <a:lnTo>
                  <a:pt x="822" y="1506"/>
                </a:lnTo>
                <a:lnTo>
                  <a:pt x="810" y="1500"/>
                </a:lnTo>
                <a:lnTo>
                  <a:pt x="804" y="1482"/>
                </a:lnTo>
                <a:lnTo>
                  <a:pt x="792" y="1458"/>
                </a:lnTo>
                <a:lnTo>
                  <a:pt x="774" y="1452"/>
                </a:lnTo>
                <a:lnTo>
                  <a:pt x="774" y="1440"/>
                </a:lnTo>
                <a:lnTo>
                  <a:pt x="768" y="1434"/>
                </a:lnTo>
                <a:lnTo>
                  <a:pt x="750" y="1416"/>
                </a:lnTo>
                <a:lnTo>
                  <a:pt x="732" y="1410"/>
                </a:lnTo>
                <a:lnTo>
                  <a:pt x="708" y="1410"/>
                </a:lnTo>
                <a:lnTo>
                  <a:pt x="690" y="1404"/>
                </a:lnTo>
                <a:lnTo>
                  <a:pt x="666" y="1386"/>
                </a:lnTo>
                <a:lnTo>
                  <a:pt x="666" y="1362"/>
                </a:lnTo>
                <a:lnTo>
                  <a:pt x="666" y="1332"/>
                </a:lnTo>
                <a:lnTo>
                  <a:pt x="672" y="1302"/>
                </a:lnTo>
                <a:lnTo>
                  <a:pt x="666" y="1278"/>
                </a:lnTo>
                <a:lnTo>
                  <a:pt x="660" y="1254"/>
                </a:lnTo>
                <a:lnTo>
                  <a:pt x="666" y="1236"/>
                </a:lnTo>
                <a:lnTo>
                  <a:pt x="678" y="1212"/>
                </a:lnTo>
                <a:lnTo>
                  <a:pt x="666" y="1212"/>
                </a:lnTo>
                <a:lnTo>
                  <a:pt x="654" y="1212"/>
                </a:lnTo>
                <a:lnTo>
                  <a:pt x="660" y="1182"/>
                </a:lnTo>
                <a:lnTo>
                  <a:pt x="648" y="1170"/>
                </a:lnTo>
                <a:lnTo>
                  <a:pt x="642" y="1152"/>
                </a:lnTo>
                <a:lnTo>
                  <a:pt x="648" y="1140"/>
                </a:lnTo>
                <a:lnTo>
                  <a:pt x="654" y="1134"/>
                </a:lnTo>
                <a:lnTo>
                  <a:pt x="654" y="1122"/>
                </a:lnTo>
                <a:lnTo>
                  <a:pt x="618" y="1116"/>
                </a:lnTo>
                <a:lnTo>
                  <a:pt x="594" y="1116"/>
                </a:lnTo>
                <a:lnTo>
                  <a:pt x="570" y="1122"/>
                </a:lnTo>
                <a:lnTo>
                  <a:pt x="570" y="1128"/>
                </a:lnTo>
                <a:lnTo>
                  <a:pt x="564" y="1140"/>
                </a:lnTo>
                <a:lnTo>
                  <a:pt x="540" y="1152"/>
                </a:lnTo>
                <a:lnTo>
                  <a:pt x="510" y="1158"/>
                </a:lnTo>
                <a:lnTo>
                  <a:pt x="468" y="1164"/>
                </a:lnTo>
                <a:lnTo>
                  <a:pt x="462" y="1170"/>
                </a:lnTo>
                <a:lnTo>
                  <a:pt x="450" y="1182"/>
                </a:lnTo>
                <a:lnTo>
                  <a:pt x="444" y="1182"/>
                </a:lnTo>
                <a:lnTo>
                  <a:pt x="438" y="1182"/>
                </a:lnTo>
                <a:lnTo>
                  <a:pt x="432" y="1182"/>
                </a:lnTo>
                <a:lnTo>
                  <a:pt x="414" y="1176"/>
                </a:lnTo>
                <a:lnTo>
                  <a:pt x="402" y="1182"/>
                </a:lnTo>
                <a:lnTo>
                  <a:pt x="384" y="1188"/>
                </a:lnTo>
                <a:lnTo>
                  <a:pt x="378" y="1182"/>
                </a:lnTo>
                <a:lnTo>
                  <a:pt x="348" y="1182"/>
                </a:lnTo>
                <a:lnTo>
                  <a:pt x="312" y="1200"/>
                </a:lnTo>
                <a:lnTo>
                  <a:pt x="306" y="1212"/>
                </a:lnTo>
                <a:lnTo>
                  <a:pt x="306" y="1224"/>
                </a:lnTo>
                <a:lnTo>
                  <a:pt x="294" y="1224"/>
                </a:lnTo>
                <a:lnTo>
                  <a:pt x="276" y="1218"/>
                </a:lnTo>
                <a:lnTo>
                  <a:pt x="270" y="1194"/>
                </a:lnTo>
                <a:lnTo>
                  <a:pt x="252" y="1188"/>
                </a:lnTo>
                <a:lnTo>
                  <a:pt x="240" y="1182"/>
                </a:lnTo>
                <a:lnTo>
                  <a:pt x="228" y="1176"/>
                </a:lnTo>
                <a:lnTo>
                  <a:pt x="216" y="1170"/>
                </a:lnTo>
                <a:lnTo>
                  <a:pt x="204" y="1158"/>
                </a:lnTo>
                <a:lnTo>
                  <a:pt x="192" y="1158"/>
                </a:lnTo>
                <a:lnTo>
                  <a:pt x="174" y="1158"/>
                </a:lnTo>
                <a:lnTo>
                  <a:pt x="162" y="1146"/>
                </a:lnTo>
                <a:lnTo>
                  <a:pt x="156" y="1146"/>
                </a:lnTo>
                <a:lnTo>
                  <a:pt x="144" y="1140"/>
                </a:lnTo>
                <a:lnTo>
                  <a:pt x="120" y="1134"/>
                </a:lnTo>
                <a:lnTo>
                  <a:pt x="102" y="1152"/>
                </a:lnTo>
                <a:lnTo>
                  <a:pt x="96" y="1164"/>
                </a:lnTo>
                <a:lnTo>
                  <a:pt x="72" y="1158"/>
                </a:lnTo>
                <a:lnTo>
                  <a:pt x="54" y="1152"/>
                </a:lnTo>
                <a:lnTo>
                  <a:pt x="42" y="1140"/>
                </a:lnTo>
                <a:lnTo>
                  <a:pt x="30" y="1116"/>
                </a:lnTo>
                <a:lnTo>
                  <a:pt x="18" y="1098"/>
                </a:lnTo>
                <a:lnTo>
                  <a:pt x="0" y="1080"/>
                </a:lnTo>
                <a:lnTo>
                  <a:pt x="6" y="1074"/>
                </a:lnTo>
                <a:lnTo>
                  <a:pt x="12" y="1068"/>
                </a:lnTo>
                <a:lnTo>
                  <a:pt x="6" y="1056"/>
                </a:lnTo>
                <a:lnTo>
                  <a:pt x="30" y="1038"/>
                </a:lnTo>
                <a:lnTo>
                  <a:pt x="42" y="1026"/>
                </a:lnTo>
                <a:lnTo>
                  <a:pt x="42" y="1020"/>
                </a:lnTo>
                <a:lnTo>
                  <a:pt x="48" y="1014"/>
                </a:lnTo>
                <a:lnTo>
                  <a:pt x="48" y="1008"/>
                </a:lnTo>
                <a:lnTo>
                  <a:pt x="48" y="1002"/>
                </a:lnTo>
                <a:lnTo>
                  <a:pt x="54" y="996"/>
                </a:lnTo>
                <a:lnTo>
                  <a:pt x="60" y="996"/>
                </a:lnTo>
                <a:lnTo>
                  <a:pt x="72" y="990"/>
                </a:lnTo>
                <a:lnTo>
                  <a:pt x="84" y="996"/>
                </a:lnTo>
                <a:lnTo>
                  <a:pt x="90" y="996"/>
                </a:lnTo>
                <a:lnTo>
                  <a:pt x="102" y="990"/>
                </a:lnTo>
                <a:lnTo>
                  <a:pt x="108" y="1008"/>
                </a:lnTo>
                <a:lnTo>
                  <a:pt x="108" y="1020"/>
                </a:lnTo>
                <a:lnTo>
                  <a:pt x="120" y="1008"/>
                </a:lnTo>
                <a:lnTo>
                  <a:pt x="138" y="1008"/>
                </a:lnTo>
                <a:lnTo>
                  <a:pt x="150" y="1014"/>
                </a:lnTo>
                <a:lnTo>
                  <a:pt x="156" y="1020"/>
                </a:lnTo>
                <a:lnTo>
                  <a:pt x="162" y="1026"/>
                </a:lnTo>
                <a:lnTo>
                  <a:pt x="174" y="1020"/>
                </a:lnTo>
                <a:lnTo>
                  <a:pt x="180" y="1020"/>
                </a:lnTo>
                <a:lnTo>
                  <a:pt x="180" y="1014"/>
                </a:lnTo>
                <a:lnTo>
                  <a:pt x="186" y="1002"/>
                </a:lnTo>
                <a:lnTo>
                  <a:pt x="180" y="984"/>
                </a:lnTo>
                <a:lnTo>
                  <a:pt x="174" y="972"/>
                </a:lnTo>
                <a:lnTo>
                  <a:pt x="174" y="960"/>
                </a:lnTo>
                <a:lnTo>
                  <a:pt x="186" y="948"/>
                </a:lnTo>
                <a:lnTo>
                  <a:pt x="216" y="924"/>
                </a:lnTo>
                <a:lnTo>
                  <a:pt x="216" y="948"/>
                </a:lnTo>
                <a:lnTo>
                  <a:pt x="234" y="960"/>
                </a:lnTo>
                <a:lnTo>
                  <a:pt x="252" y="966"/>
                </a:lnTo>
                <a:lnTo>
                  <a:pt x="258" y="966"/>
                </a:lnTo>
                <a:lnTo>
                  <a:pt x="282" y="972"/>
                </a:lnTo>
                <a:lnTo>
                  <a:pt x="306" y="972"/>
                </a:lnTo>
                <a:lnTo>
                  <a:pt x="324" y="972"/>
                </a:lnTo>
                <a:lnTo>
                  <a:pt x="336" y="972"/>
                </a:lnTo>
                <a:lnTo>
                  <a:pt x="348" y="954"/>
                </a:lnTo>
                <a:lnTo>
                  <a:pt x="360" y="954"/>
                </a:lnTo>
                <a:lnTo>
                  <a:pt x="372" y="954"/>
                </a:lnTo>
                <a:lnTo>
                  <a:pt x="408" y="948"/>
                </a:lnTo>
                <a:lnTo>
                  <a:pt x="420" y="942"/>
                </a:lnTo>
                <a:lnTo>
                  <a:pt x="420" y="936"/>
                </a:lnTo>
                <a:lnTo>
                  <a:pt x="414" y="924"/>
                </a:lnTo>
                <a:lnTo>
                  <a:pt x="420" y="912"/>
                </a:lnTo>
                <a:lnTo>
                  <a:pt x="426" y="906"/>
                </a:lnTo>
                <a:lnTo>
                  <a:pt x="438" y="918"/>
                </a:lnTo>
                <a:lnTo>
                  <a:pt x="444" y="918"/>
                </a:lnTo>
                <a:lnTo>
                  <a:pt x="450" y="912"/>
                </a:lnTo>
                <a:lnTo>
                  <a:pt x="450" y="882"/>
                </a:lnTo>
                <a:lnTo>
                  <a:pt x="444" y="864"/>
                </a:lnTo>
                <a:lnTo>
                  <a:pt x="456" y="858"/>
                </a:lnTo>
                <a:lnTo>
                  <a:pt x="462" y="846"/>
                </a:lnTo>
                <a:lnTo>
                  <a:pt x="456" y="840"/>
                </a:lnTo>
                <a:lnTo>
                  <a:pt x="444" y="846"/>
                </a:lnTo>
                <a:lnTo>
                  <a:pt x="438" y="852"/>
                </a:lnTo>
                <a:lnTo>
                  <a:pt x="432" y="840"/>
                </a:lnTo>
                <a:lnTo>
                  <a:pt x="432" y="834"/>
                </a:lnTo>
                <a:lnTo>
                  <a:pt x="456" y="822"/>
                </a:lnTo>
                <a:lnTo>
                  <a:pt x="450" y="822"/>
                </a:lnTo>
                <a:lnTo>
                  <a:pt x="438" y="810"/>
                </a:lnTo>
                <a:lnTo>
                  <a:pt x="420" y="798"/>
                </a:lnTo>
                <a:lnTo>
                  <a:pt x="408" y="786"/>
                </a:lnTo>
                <a:lnTo>
                  <a:pt x="402" y="780"/>
                </a:lnTo>
                <a:lnTo>
                  <a:pt x="396" y="768"/>
                </a:lnTo>
                <a:lnTo>
                  <a:pt x="402" y="762"/>
                </a:lnTo>
                <a:lnTo>
                  <a:pt x="408" y="750"/>
                </a:lnTo>
                <a:lnTo>
                  <a:pt x="414" y="738"/>
                </a:lnTo>
                <a:lnTo>
                  <a:pt x="414" y="720"/>
                </a:lnTo>
                <a:lnTo>
                  <a:pt x="408" y="708"/>
                </a:lnTo>
                <a:lnTo>
                  <a:pt x="414" y="696"/>
                </a:lnTo>
                <a:lnTo>
                  <a:pt x="408" y="684"/>
                </a:lnTo>
                <a:lnTo>
                  <a:pt x="414" y="672"/>
                </a:lnTo>
                <a:lnTo>
                  <a:pt x="426" y="666"/>
                </a:lnTo>
                <a:lnTo>
                  <a:pt x="426" y="654"/>
                </a:lnTo>
                <a:lnTo>
                  <a:pt x="444" y="660"/>
                </a:lnTo>
                <a:lnTo>
                  <a:pt x="462" y="654"/>
                </a:lnTo>
                <a:lnTo>
                  <a:pt x="468" y="642"/>
                </a:lnTo>
                <a:lnTo>
                  <a:pt x="474" y="642"/>
                </a:lnTo>
                <a:lnTo>
                  <a:pt x="480" y="642"/>
                </a:lnTo>
                <a:lnTo>
                  <a:pt x="498" y="654"/>
                </a:lnTo>
                <a:lnTo>
                  <a:pt x="504" y="648"/>
                </a:lnTo>
                <a:lnTo>
                  <a:pt x="510" y="642"/>
                </a:lnTo>
                <a:lnTo>
                  <a:pt x="516" y="642"/>
                </a:lnTo>
                <a:lnTo>
                  <a:pt x="522" y="642"/>
                </a:lnTo>
                <a:lnTo>
                  <a:pt x="522" y="636"/>
                </a:lnTo>
                <a:lnTo>
                  <a:pt x="522" y="624"/>
                </a:lnTo>
                <a:lnTo>
                  <a:pt x="528" y="618"/>
                </a:lnTo>
                <a:lnTo>
                  <a:pt x="540" y="618"/>
                </a:lnTo>
                <a:lnTo>
                  <a:pt x="546" y="618"/>
                </a:lnTo>
                <a:lnTo>
                  <a:pt x="546" y="606"/>
                </a:lnTo>
                <a:lnTo>
                  <a:pt x="552" y="600"/>
                </a:lnTo>
                <a:lnTo>
                  <a:pt x="558" y="588"/>
                </a:lnTo>
                <a:lnTo>
                  <a:pt x="576" y="588"/>
                </a:lnTo>
                <a:lnTo>
                  <a:pt x="594" y="576"/>
                </a:lnTo>
                <a:lnTo>
                  <a:pt x="618" y="576"/>
                </a:lnTo>
                <a:lnTo>
                  <a:pt x="636" y="588"/>
                </a:lnTo>
                <a:lnTo>
                  <a:pt x="648" y="582"/>
                </a:lnTo>
                <a:lnTo>
                  <a:pt x="672" y="582"/>
                </a:lnTo>
                <a:lnTo>
                  <a:pt x="690" y="582"/>
                </a:lnTo>
                <a:lnTo>
                  <a:pt x="714" y="582"/>
                </a:lnTo>
                <a:lnTo>
                  <a:pt x="732" y="576"/>
                </a:lnTo>
                <a:lnTo>
                  <a:pt x="750" y="564"/>
                </a:lnTo>
                <a:lnTo>
                  <a:pt x="762" y="564"/>
                </a:lnTo>
                <a:lnTo>
                  <a:pt x="774" y="570"/>
                </a:lnTo>
                <a:lnTo>
                  <a:pt x="780" y="570"/>
                </a:lnTo>
                <a:lnTo>
                  <a:pt x="774" y="558"/>
                </a:lnTo>
                <a:lnTo>
                  <a:pt x="774" y="546"/>
                </a:lnTo>
                <a:lnTo>
                  <a:pt x="780" y="540"/>
                </a:lnTo>
                <a:lnTo>
                  <a:pt x="780" y="546"/>
                </a:lnTo>
                <a:lnTo>
                  <a:pt x="786" y="546"/>
                </a:lnTo>
                <a:lnTo>
                  <a:pt x="792" y="546"/>
                </a:lnTo>
                <a:lnTo>
                  <a:pt x="798" y="552"/>
                </a:lnTo>
                <a:lnTo>
                  <a:pt x="810" y="540"/>
                </a:lnTo>
                <a:lnTo>
                  <a:pt x="816" y="534"/>
                </a:lnTo>
                <a:lnTo>
                  <a:pt x="816" y="552"/>
                </a:lnTo>
                <a:lnTo>
                  <a:pt x="828" y="552"/>
                </a:lnTo>
                <a:lnTo>
                  <a:pt x="840" y="540"/>
                </a:lnTo>
                <a:lnTo>
                  <a:pt x="846" y="534"/>
                </a:lnTo>
                <a:lnTo>
                  <a:pt x="852" y="528"/>
                </a:lnTo>
                <a:lnTo>
                  <a:pt x="858" y="516"/>
                </a:lnTo>
                <a:lnTo>
                  <a:pt x="870" y="510"/>
                </a:lnTo>
                <a:lnTo>
                  <a:pt x="876" y="492"/>
                </a:lnTo>
                <a:lnTo>
                  <a:pt x="882" y="480"/>
                </a:lnTo>
                <a:lnTo>
                  <a:pt x="876" y="462"/>
                </a:lnTo>
                <a:lnTo>
                  <a:pt x="876" y="450"/>
                </a:lnTo>
                <a:lnTo>
                  <a:pt x="882" y="450"/>
                </a:lnTo>
                <a:lnTo>
                  <a:pt x="888" y="450"/>
                </a:lnTo>
                <a:lnTo>
                  <a:pt x="894" y="456"/>
                </a:lnTo>
                <a:lnTo>
                  <a:pt x="900" y="450"/>
                </a:lnTo>
                <a:lnTo>
                  <a:pt x="900" y="444"/>
                </a:lnTo>
                <a:lnTo>
                  <a:pt x="894" y="438"/>
                </a:lnTo>
                <a:lnTo>
                  <a:pt x="894" y="432"/>
                </a:lnTo>
                <a:lnTo>
                  <a:pt x="900" y="432"/>
                </a:lnTo>
                <a:lnTo>
                  <a:pt x="912" y="438"/>
                </a:lnTo>
                <a:lnTo>
                  <a:pt x="918" y="456"/>
                </a:lnTo>
                <a:lnTo>
                  <a:pt x="918" y="462"/>
                </a:lnTo>
                <a:lnTo>
                  <a:pt x="924" y="474"/>
                </a:lnTo>
                <a:lnTo>
                  <a:pt x="924" y="486"/>
                </a:lnTo>
                <a:lnTo>
                  <a:pt x="936" y="474"/>
                </a:lnTo>
                <a:lnTo>
                  <a:pt x="930" y="462"/>
                </a:lnTo>
                <a:lnTo>
                  <a:pt x="942" y="450"/>
                </a:lnTo>
                <a:lnTo>
                  <a:pt x="954" y="450"/>
                </a:lnTo>
                <a:lnTo>
                  <a:pt x="966" y="444"/>
                </a:lnTo>
                <a:lnTo>
                  <a:pt x="990" y="426"/>
                </a:lnTo>
                <a:lnTo>
                  <a:pt x="996" y="426"/>
                </a:lnTo>
                <a:lnTo>
                  <a:pt x="1020" y="426"/>
                </a:lnTo>
                <a:lnTo>
                  <a:pt x="1026" y="426"/>
                </a:lnTo>
                <a:lnTo>
                  <a:pt x="1026" y="420"/>
                </a:lnTo>
                <a:lnTo>
                  <a:pt x="1032" y="402"/>
                </a:lnTo>
                <a:lnTo>
                  <a:pt x="1050" y="384"/>
                </a:lnTo>
                <a:lnTo>
                  <a:pt x="1038" y="378"/>
                </a:lnTo>
                <a:lnTo>
                  <a:pt x="1050" y="372"/>
                </a:lnTo>
                <a:lnTo>
                  <a:pt x="1056" y="378"/>
                </a:lnTo>
                <a:lnTo>
                  <a:pt x="1062" y="372"/>
                </a:lnTo>
                <a:lnTo>
                  <a:pt x="1068" y="348"/>
                </a:lnTo>
                <a:lnTo>
                  <a:pt x="1074" y="330"/>
                </a:lnTo>
                <a:lnTo>
                  <a:pt x="1092" y="294"/>
                </a:lnTo>
                <a:lnTo>
                  <a:pt x="1098" y="294"/>
                </a:lnTo>
                <a:lnTo>
                  <a:pt x="1110" y="276"/>
                </a:lnTo>
                <a:lnTo>
                  <a:pt x="1122" y="270"/>
                </a:lnTo>
                <a:lnTo>
                  <a:pt x="1122" y="264"/>
                </a:lnTo>
                <a:lnTo>
                  <a:pt x="1128" y="264"/>
                </a:lnTo>
                <a:lnTo>
                  <a:pt x="1128" y="276"/>
                </a:lnTo>
                <a:lnTo>
                  <a:pt x="1128" y="288"/>
                </a:lnTo>
                <a:lnTo>
                  <a:pt x="1128" y="294"/>
                </a:lnTo>
                <a:lnTo>
                  <a:pt x="1140" y="294"/>
                </a:lnTo>
                <a:lnTo>
                  <a:pt x="1152" y="282"/>
                </a:lnTo>
                <a:lnTo>
                  <a:pt x="1152" y="276"/>
                </a:lnTo>
                <a:lnTo>
                  <a:pt x="1164" y="276"/>
                </a:lnTo>
                <a:lnTo>
                  <a:pt x="1164" y="300"/>
                </a:lnTo>
                <a:lnTo>
                  <a:pt x="1176" y="306"/>
                </a:lnTo>
                <a:lnTo>
                  <a:pt x="1182" y="306"/>
                </a:lnTo>
                <a:lnTo>
                  <a:pt x="1182" y="300"/>
                </a:lnTo>
                <a:lnTo>
                  <a:pt x="1182" y="288"/>
                </a:lnTo>
                <a:lnTo>
                  <a:pt x="1188" y="276"/>
                </a:lnTo>
                <a:lnTo>
                  <a:pt x="1188" y="264"/>
                </a:lnTo>
                <a:lnTo>
                  <a:pt x="1212" y="246"/>
                </a:lnTo>
                <a:lnTo>
                  <a:pt x="1212" y="240"/>
                </a:lnTo>
                <a:lnTo>
                  <a:pt x="1206" y="234"/>
                </a:lnTo>
                <a:lnTo>
                  <a:pt x="1230" y="216"/>
                </a:lnTo>
                <a:lnTo>
                  <a:pt x="1230" y="204"/>
                </a:lnTo>
                <a:lnTo>
                  <a:pt x="1230" y="198"/>
                </a:lnTo>
                <a:lnTo>
                  <a:pt x="1242" y="186"/>
                </a:lnTo>
                <a:lnTo>
                  <a:pt x="1224" y="180"/>
                </a:lnTo>
                <a:lnTo>
                  <a:pt x="1224" y="174"/>
                </a:lnTo>
                <a:lnTo>
                  <a:pt x="1236" y="174"/>
                </a:lnTo>
                <a:lnTo>
                  <a:pt x="1236" y="162"/>
                </a:lnTo>
                <a:lnTo>
                  <a:pt x="1242" y="168"/>
                </a:lnTo>
                <a:lnTo>
                  <a:pt x="1242" y="156"/>
                </a:lnTo>
                <a:lnTo>
                  <a:pt x="1254" y="156"/>
                </a:lnTo>
                <a:lnTo>
                  <a:pt x="1254" y="144"/>
                </a:lnTo>
                <a:lnTo>
                  <a:pt x="1242" y="138"/>
                </a:lnTo>
                <a:lnTo>
                  <a:pt x="1230" y="126"/>
                </a:lnTo>
                <a:lnTo>
                  <a:pt x="1236" y="102"/>
                </a:lnTo>
                <a:lnTo>
                  <a:pt x="1242" y="102"/>
                </a:lnTo>
                <a:lnTo>
                  <a:pt x="1248" y="102"/>
                </a:lnTo>
                <a:lnTo>
                  <a:pt x="1242" y="96"/>
                </a:lnTo>
                <a:lnTo>
                  <a:pt x="1242" y="90"/>
                </a:lnTo>
                <a:lnTo>
                  <a:pt x="1242" y="78"/>
                </a:lnTo>
                <a:lnTo>
                  <a:pt x="1248" y="78"/>
                </a:lnTo>
                <a:lnTo>
                  <a:pt x="1248" y="72"/>
                </a:lnTo>
                <a:lnTo>
                  <a:pt x="1260" y="66"/>
                </a:lnTo>
                <a:lnTo>
                  <a:pt x="1266" y="60"/>
                </a:lnTo>
                <a:lnTo>
                  <a:pt x="1278" y="60"/>
                </a:lnTo>
                <a:lnTo>
                  <a:pt x="1290" y="30"/>
                </a:lnTo>
                <a:lnTo>
                  <a:pt x="1302" y="24"/>
                </a:lnTo>
                <a:lnTo>
                  <a:pt x="1308" y="18"/>
                </a:lnTo>
                <a:lnTo>
                  <a:pt x="1320" y="12"/>
                </a:lnTo>
                <a:lnTo>
                  <a:pt x="1332" y="0"/>
                </a:lnTo>
                <a:lnTo>
                  <a:pt x="1350" y="0"/>
                </a:lnTo>
                <a:lnTo>
                  <a:pt x="1368" y="6"/>
                </a:lnTo>
                <a:lnTo>
                  <a:pt x="1422" y="6"/>
                </a:lnTo>
                <a:lnTo>
                  <a:pt x="1422" y="12"/>
                </a:lnTo>
                <a:lnTo>
                  <a:pt x="1422" y="24"/>
                </a:lnTo>
                <a:lnTo>
                  <a:pt x="1416" y="36"/>
                </a:lnTo>
                <a:lnTo>
                  <a:pt x="1398" y="48"/>
                </a:lnTo>
                <a:lnTo>
                  <a:pt x="1392" y="60"/>
                </a:lnTo>
                <a:lnTo>
                  <a:pt x="1410" y="72"/>
                </a:lnTo>
                <a:lnTo>
                  <a:pt x="1422" y="90"/>
                </a:lnTo>
                <a:lnTo>
                  <a:pt x="1428" y="96"/>
                </a:lnTo>
                <a:lnTo>
                  <a:pt x="1434" y="102"/>
                </a:lnTo>
                <a:lnTo>
                  <a:pt x="1428" y="108"/>
                </a:lnTo>
                <a:lnTo>
                  <a:pt x="1446" y="114"/>
                </a:lnTo>
                <a:lnTo>
                  <a:pt x="1458" y="108"/>
                </a:lnTo>
                <a:lnTo>
                  <a:pt x="1476" y="102"/>
                </a:lnTo>
                <a:lnTo>
                  <a:pt x="1494" y="96"/>
                </a:lnTo>
                <a:lnTo>
                  <a:pt x="1500" y="96"/>
                </a:lnTo>
                <a:lnTo>
                  <a:pt x="1506" y="168"/>
                </a:lnTo>
                <a:lnTo>
                  <a:pt x="1512" y="174"/>
                </a:lnTo>
                <a:lnTo>
                  <a:pt x="1512" y="180"/>
                </a:lnTo>
                <a:lnTo>
                  <a:pt x="1536" y="198"/>
                </a:lnTo>
                <a:lnTo>
                  <a:pt x="1542" y="204"/>
                </a:lnTo>
                <a:lnTo>
                  <a:pt x="1548" y="234"/>
                </a:lnTo>
                <a:lnTo>
                  <a:pt x="1554" y="246"/>
                </a:lnTo>
                <a:lnTo>
                  <a:pt x="1566" y="258"/>
                </a:lnTo>
                <a:lnTo>
                  <a:pt x="1578" y="270"/>
                </a:lnTo>
                <a:lnTo>
                  <a:pt x="1590" y="276"/>
                </a:lnTo>
                <a:lnTo>
                  <a:pt x="1602" y="306"/>
                </a:lnTo>
                <a:lnTo>
                  <a:pt x="1614" y="318"/>
                </a:lnTo>
                <a:lnTo>
                  <a:pt x="1626" y="318"/>
                </a:lnTo>
                <a:lnTo>
                  <a:pt x="1638" y="294"/>
                </a:lnTo>
                <a:lnTo>
                  <a:pt x="1650" y="288"/>
                </a:lnTo>
                <a:lnTo>
                  <a:pt x="1686" y="294"/>
                </a:lnTo>
                <a:lnTo>
                  <a:pt x="1692" y="288"/>
                </a:lnTo>
                <a:lnTo>
                  <a:pt x="1704" y="288"/>
                </a:lnTo>
                <a:lnTo>
                  <a:pt x="1722" y="294"/>
                </a:lnTo>
                <a:lnTo>
                  <a:pt x="1734" y="282"/>
                </a:lnTo>
                <a:lnTo>
                  <a:pt x="1752" y="270"/>
                </a:lnTo>
                <a:lnTo>
                  <a:pt x="1764" y="264"/>
                </a:lnTo>
                <a:lnTo>
                  <a:pt x="1776" y="270"/>
                </a:lnTo>
                <a:lnTo>
                  <a:pt x="1776" y="282"/>
                </a:lnTo>
                <a:lnTo>
                  <a:pt x="1776" y="288"/>
                </a:lnTo>
                <a:lnTo>
                  <a:pt x="1794" y="288"/>
                </a:lnTo>
                <a:lnTo>
                  <a:pt x="1800" y="300"/>
                </a:lnTo>
                <a:lnTo>
                  <a:pt x="1800" y="312"/>
                </a:lnTo>
                <a:lnTo>
                  <a:pt x="1818" y="336"/>
                </a:lnTo>
                <a:lnTo>
                  <a:pt x="1836" y="336"/>
                </a:lnTo>
                <a:lnTo>
                  <a:pt x="1842" y="342"/>
                </a:lnTo>
                <a:lnTo>
                  <a:pt x="1860" y="354"/>
                </a:lnTo>
                <a:lnTo>
                  <a:pt x="1878" y="360"/>
                </a:lnTo>
                <a:lnTo>
                  <a:pt x="1890" y="354"/>
                </a:lnTo>
                <a:lnTo>
                  <a:pt x="1896" y="366"/>
                </a:lnTo>
                <a:lnTo>
                  <a:pt x="1878" y="384"/>
                </a:lnTo>
                <a:lnTo>
                  <a:pt x="1884" y="396"/>
                </a:lnTo>
                <a:lnTo>
                  <a:pt x="1902" y="420"/>
                </a:lnTo>
                <a:lnTo>
                  <a:pt x="1908" y="432"/>
                </a:lnTo>
                <a:lnTo>
                  <a:pt x="1914" y="432"/>
                </a:lnTo>
                <a:lnTo>
                  <a:pt x="1920" y="438"/>
                </a:lnTo>
                <a:lnTo>
                  <a:pt x="1932" y="450"/>
                </a:lnTo>
                <a:lnTo>
                  <a:pt x="1932" y="462"/>
                </a:lnTo>
                <a:lnTo>
                  <a:pt x="1932" y="474"/>
                </a:lnTo>
                <a:lnTo>
                  <a:pt x="1938" y="486"/>
                </a:lnTo>
                <a:lnTo>
                  <a:pt x="1938" y="498"/>
                </a:lnTo>
                <a:lnTo>
                  <a:pt x="1944" y="510"/>
                </a:lnTo>
                <a:lnTo>
                  <a:pt x="1944" y="522"/>
                </a:lnTo>
                <a:lnTo>
                  <a:pt x="1944" y="528"/>
                </a:lnTo>
                <a:lnTo>
                  <a:pt x="1950" y="528"/>
                </a:lnTo>
                <a:lnTo>
                  <a:pt x="1968" y="558"/>
                </a:lnTo>
                <a:lnTo>
                  <a:pt x="1974" y="558"/>
                </a:lnTo>
                <a:lnTo>
                  <a:pt x="1980" y="552"/>
                </a:lnTo>
                <a:lnTo>
                  <a:pt x="1974" y="534"/>
                </a:lnTo>
                <a:lnTo>
                  <a:pt x="1986" y="534"/>
                </a:lnTo>
                <a:lnTo>
                  <a:pt x="1998" y="540"/>
                </a:lnTo>
                <a:lnTo>
                  <a:pt x="2016" y="546"/>
                </a:lnTo>
                <a:lnTo>
                  <a:pt x="2052" y="546"/>
                </a:lnTo>
                <a:lnTo>
                  <a:pt x="2064" y="540"/>
                </a:lnTo>
                <a:lnTo>
                  <a:pt x="2070" y="522"/>
                </a:lnTo>
                <a:lnTo>
                  <a:pt x="2082" y="516"/>
                </a:lnTo>
                <a:lnTo>
                  <a:pt x="2094" y="498"/>
                </a:lnTo>
                <a:lnTo>
                  <a:pt x="2106" y="492"/>
                </a:lnTo>
                <a:lnTo>
                  <a:pt x="2112" y="480"/>
                </a:lnTo>
                <a:lnTo>
                  <a:pt x="2124" y="486"/>
                </a:lnTo>
                <a:lnTo>
                  <a:pt x="2136" y="474"/>
                </a:lnTo>
                <a:lnTo>
                  <a:pt x="2142" y="474"/>
                </a:lnTo>
                <a:lnTo>
                  <a:pt x="2154" y="474"/>
                </a:lnTo>
                <a:lnTo>
                  <a:pt x="2160" y="486"/>
                </a:lnTo>
                <a:lnTo>
                  <a:pt x="2172" y="486"/>
                </a:lnTo>
                <a:lnTo>
                  <a:pt x="2178" y="474"/>
                </a:lnTo>
                <a:lnTo>
                  <a:pt x="2178" y="468"/>
                </a:lnTo>
                <a:lnTo>
                  <a:pt x="2190" y="462"/>
                </a:lnTo>
                <a:lnTo>
                  <a:pt x="2214" y="462"/>
                </a:lnTo>
                <a:lnTo>
                  <a:pt x="2220" y="468"/>
                </a:lnTo>
                <a:lnTo>
                  <a:pt x="2214" y="480"/>
                </a:lnTo>
                <a:lnTo>
                  <a:pt x="2220" y="486"/>
                </a:lnTo>
                <a:lnTo>
                  <a:pt x="2226" y="486"/>
                </a:lnTo>
                <a:lnTo>
                  <a:pt x="2226" y="468"/>
                </a:lnTo>
                <a:lnTo>
                  <a:pt x="2232" y="462"/>
                </a:lnTo>
                <a:lnTo>
                  <a:pt x="2244" y="462"/>
                </a:lnTo>
                <a:lnTo>
                  <a:pt x="2250" y="468"/>
                </a:lnTo>
                <a:lnTo>
                  <a:pt x="2256" y="480"/>
                </a:lnTo>
                <a:lnTo>
                  <a:pt x="2256" y="486"/>
                </a:lnTo>
                <a:lnTo>
                  <a:pt x="2262" y="498"/>
                </a:lnTo>
                <a:lnTo>
                  <a:pt x="2262" y="504"/>
                </a:lnTo>
                <a:lnTo>
                  <a:pt x="2274" y="522"/>
                </a:lnTo>
                <a:lnTo>
                  <a:pt x="2280" y="528"/>
                </a:lnTo>
                <a:lnTo>
                  <a:pt x="2292" y="528"/>
                </a:lnTo>
                <a:lnTo>
                  <a:pt x="2298" y="528"/>
                </a:lnTo>
                <a:lnTo>
                  <a:pt x="2322" y="570"/>
                </a:lnTo>
                <a:lnTo>
                  <a:pt x="2322" y="576"/>
                </a:lnTo>
                <a:lnTo>
                  <a:pt x="2334" y="582"/>
                </a:lnTo>
                <a:lnTo>
                  <a:pt x="2346" y="588"/>
                </a:lnTo>
                <a:lnTo>
                  <a:pt x="2346" y="606"/>
                </a:lnTo>
                <a:lnTo>
                  <a:pt x="2346" y="618"/>
                </a:lnTo>
                <a:lnTo>
                  <a:pt x="2346" y="630"/>
                </a:lnTo>
                <a:lnTo>
                  <a:pt x="2328" y="642"/>
                </a:lnTo>
                <a:lnTo>
                  <a:pt x="2334" y="654"/>
                </a:lnTo>
                <a:lnTo>
                  <a:pt x="2364" y="672"/>
                </a:lnTo>
                <a:lnTo>
                  <a:pt x="2316" y="684"/>
                </a:lnTo>
                <a:lnTo>
                  <a:pt x="2310" y="696"/>
                </a:lnTo>
                <a:lnTo>
                  <a:pt x="2316" y="708"/>
                </a:lnTo>
                <a:lnTo>
                  <a:pt x="2322" y="714"/>
                </a:lnTo>
                <a:lnTo>
                  <a:pt x="2340" y="720"/>
                </a:lnTo>
                <a:lnTo>
                  <a:pt x="2346" y="726"/>
                </a:lnTo>
                <a:lnTo>
                  <a:pt x="2358" y="732"/>
                </a:lnTo>
                <a:lnTo>
                  <a:pt x="2364" y="738"/>
                </a:lnTo>
                <a:lnTo>
                  <a:pt x="2376" y="738"/>
                </a:lnTo>
                <a:lnTo>
                  <a:pt x="2382" y="744"/>
                </a:lnTo>
                <a:lnTo>
                  <a:pt x="2394" y="750"/>
                </a:lnTo>
                <a:lnTo>
                  <a:pt x="2388" y="756"/>
                </a:lnTo>
                <a:lnTo>
                  <a:pt x="2388" y="762"/>
                </a:lnTo>
                <a:lnTo>
                  <a:pt x="2382" y="768"/>
                </a:lnTo>
                <a:lnTo>
                  <a:pt x="2370" y="774"/>
                </a:lnTo>
                <a:lnTo>
                  <a:pt x="2376" y="780"/>
                </a:lnTo>
                <a:lnTo>
                  <a:pt x="2364" y="786"/>
                </a:lnTo>
                <a:lnTo>
                  <a:pt x="2364" y="804"/>
                </a:lnTo>
                <a:lnTo>
                  <a:pt x="2358" y="804"/>
                </a:lnTo>
                <a:lnTo>
                  <a:pt x="2358" y="816"/>
                </a:lnTo>
                <a:lnTo>
                  <a:pt x="2352" y="822"/>
                </a:lnTo>
                <a:lnTo>
                  <a:pt x="2352" y="834"/>
                </a:lnTo>
                <a:lnTo>
                  <a:pt x="2346" y="840"/>
                </a:lnTo>
                <a:lnTo>
                  <a:pt x="2346" y="846"/>
                </a:lnTo>
                <a:lnTo>
                  <a:pt x="2346" y="852"/>
                </a:lnTo>
                <a:lnTo>
                  <a:pt x="2340" y="858"/>
                </a:lnTo>
                <a:lnTo>
                  <a:pt x="2340" y="864"/>
                </a:lnTo>
                <a:lnTo>
                  <a:pt x="2334" y="864"/>
                </a:lnTo>
                <a:lnTo>
                  <a:pt x="2328" y="864"/>
                </a:lnTo>
                <a:lnTo>
                  <a:pt x="2316" y="864"/>
                </a:lnTo>
                <a:lnTo>
                  <a:pt x="2310" y="870"/>
                </a:lnTo>
                <a:lnTo>
                  <a:pt x="2304" y="876"/>
                </a:lnTo>
                <a:lnTo>
                  <a:pt x="2292" y="888"/>
                </a:lnTo>
                <a:lnTo>
                  <a:pt x="2292" y="894"/>
                </a:lnTo>
                <a:lnTo>
                  <a:pt x="2286" y="894"/>
                </a:lnTo>
                <a:lnTo>
                  <a:pt x="2280" y="900"/>
                </a:lnTo>
                <a:lnTo>
                  <a:pt x="2280" y="906"/>
                </a:lnTo>
                <a:lnTo>
                  <a:pt x="2274" y="906"/>
                </a:lnTo>
                <a:lnTo>
                  <a:pt x="2274" y="912"/>
                </a:lnTo>
                <a:lnTo>
                  <a:pt x="2268" y="912"/>
                </a:lnTo>
                <a:lnTo>
                  <a:pt x="2262" y="906"/>
                </a:lnTo>
                <a:lnTo>
                  <a:pt x="2256" y="906"/>
                </a:lnTo>
                <a:lnTo>
                  <a:pt x="2250" y="912"/>
                </a:lnTo>
                <a:lnTo>
                  <a:pt x="2244" y="912"/>
                </a:lnTo>
                <a:lnTo>
                  <a:pt x="2232" y="906"/>
                </a:lnTo>
                <a:lnTo>
                  <a:pt x="2232" y="912"/>
                </a:lnTo>
                <a:lnTo>
                  <a:pt x="2226" y="912"/>
                </a:lnTo>
                <a:lnTo>
                  <a:pt x="2220" y="924"/>
                </a:lnTo>
                <a:lnTo>
                  <a:pt x="2232" y="924"/>
                </a:lnTo>
                <a:lnTo>
                  <a:pt x="2232" y="930"/>
                </a:lnTo>
                <a:lnTo>
                  <a:pt x="2238" y="930"/>
                </a:lnTo>
                <a:lnTo>
                  <a:pt x="2244" y="936"/>
                </a:lnTo>
                <a:lnTo>
                  <a:pt x="2244" y="942"/>
                </a:lnTo>
                <a:lnTo>
                  <a:pt x="2238" y="954"/>
                </a:lnTo>
                <a:lnTo>
                  <a:pt x="2238" y="966"/>
                </a:lnTo>
                <a:lnTo>
                  <a:pt x="2250" y="966"/>
                </a:lnTo>
                <a:lnTo>
                  <a:pt x="2256" y="966"/>
                </a:lnTo>
                <a:lnTo>
                  <a:pt x="2256" y="972"/>
                </a:lnTo>
                <a:lnTo>
                  <a:pt x="2256" y="978"/>
                </a:lnTo>
                <a:lnTo>
                  <a:pt x="2262" y="984"/>
                </a:lnTo>
                <a:lnTo>
                  <a:pt x="2268" y="996"/>
                </a:lnTo>
                <a:lnTo>
                  <a:pt x="2268" y="1002"/>
                </a:lnTo>
                <a:lnTo>
                  <a:pt x="2268" y="1008"/>
                </a:lnTo>
                <a:lnTo>
                  <a:pt x="2256" y="1008"/>
                </a:lnTo>
                <a:lnTo>
                  <a:pt x="2250" y="1020"/>
                </a:lnTo>
                <a:lnTo>
                  <a:pt x="2244" y="1026"/>
                </a:lnTo>
                <a:lnTo>
                  <a:pt x="2232" y="1032"/>
                </a:lnTo>
                <a:lnTo>
                  <a:pt x="2220" y="1032"/>
                </a:lnTo>
                <a:lnTo>
                  <a:pt x="2202" y="1032"/>
                </a:lnTo>
                <a:lnTo>
                  <a:pt x="2196" y="1032"/>
                </a:lnTo>
                <a:lnTo>
                  <a:pt x="2190" y="1032"/>
                </a:lnTo>
                <a:lnTo>
                  <a:pt x="2184" y="1038"/>
                </a:lnTo>
                <a:lnTo>
                  <a:pt x="2184" y="1044"/>
                </a:lnTo>
                <a:lnTo>
                  <a:pt x="2190" y="1050"/>
                </a:lnTo>
                <a:lnTo>
                  <a:pt x="2190" y="1056"/>
                </a:lnTo>
                <a:lnTo>
                  <a:pt x="2184" y="1056"/>
                </a:lnTo>
                <a:lnTo>
                  <a:pt x="2184" y="1062"/>
                </a:lnTo>
                <a:lnTo>
                  <a:pt x="2178" y="1068"/>
                </a:lnTo>
                <a:lnTo>
                  <a:pt x="2178" y="1074"/>
                </a:lnTo>
                <a:lnTo>
                  <a:pt x="2178" y="1080"/>
                </a:lnTo>
                <a:lnTo>
                  <a:pt x="2172" y="1092"/>
                </a:lnTo>
                <a:lnTo>
                  <a:pt x="2172" y="1098"/>
                </a:lnTo>
                <a:lnTo>
                  <a:pt x="2166" y="1122"/>
                </a:lnTo>
                <a:lnTo>
                  <a:pt x="2166" y="1128"/>
                </a:lnTo>
                <a:lnTo>
                  <a:pt x="2160" y="1140"/>
                </a:lnTo>
                <a:lnTo>
                  <a:pt x="2148" y="1140"/>
                </a:lnTo>
                <a:lnTo>
                  <a:pt x="2142" y="1140"/>
                </a:lnTo>
                <a:lnTo>
                  <a:pt x="2142" y="1146"/>
                </a:lnTo>
                <a:lnTo>
                  <a:pt x="2136" y="1152"/>
                </a:lnTo>
                <a:lnTo>
                  <a:pt x="2130" y="1158"/>
                </a:lnTo>
                <a:lnTo>
                  <a:pt x="2118" y="1164"/>
                </a:lnTo>
                <a:lnTo>
                  <a:pt x="2106" y="1164"/>
                </a:lnTo>
                <a:lnTo>
                  <a:pt x="2100" y="1164"/>
                </a:lnTo>
                <a:lnTo>
                  <a:pt x="2094" y="1176"/>
                </a:lnTo>
                <a:lnTo>
                  <a:pt x="2082" y="1176"/>
                </a:lnTo>
                <a:lnTo>
                  <a:pt x="2076" y="1176"/>
                </a:lnTo>
                <a:lnTo>
                  <a:pt x="2076" y="1182"/>
                </a:lnTo>
                <a:lnTo>
                  <a:pt x="2052" y="1188"/>
                </a:lnTo>
                <a:lnTo>
                  <a:pt x="1992" y="1200"/>
                </a:lnTo>
                <a:lnTo>
                  <a:pt x="1974" y="1182"/>
                </a:lnTo>
                <a:lnTo>
                  <a:pt x="1956" y="1170"/>
                </a:lnTo>
                <a:lnTo>
                  <a:pt x="1944" y="1164"/>
                </a:lnTo>
                <a:lnTo>
                  <a:pt x="1926" y="1152"/>
                </a:lnTo>
                <a:lnTo>
                  <a:pt x="1914" y="1152"/>
                </a:lnTo>
                <a:lnTo>
                  <a:pt x="1908" y="1146"/>
                </a:lnTo>
                <a:lnTo>
                  <a:pt x="1896" y="1140"/>
                </a:lnTo>
                <a:lnTo>
                  <a:pt x="1890" y="1140"/>
                </a:lnTo>
                <a:lnTo>
                  <a:pt x="1884" y="1146"/>
                </a:lnTo>
                <a:lnTo>
                  <a:pt x="1872" y="1158"/>
                </a:lnTo>
                <a:lnTo>
                  <a:pt x="1854" y="1164"/>
                </a:lnTo>
                <a:lnTo>
                  <a:pt x="1848" y="1164"/>
                </a:lnTo>
                <a:lnTo>
                  <a:pt x="1842" y="1182"/>
                </a:lnTo>
                <a:lnTo>
                  <a:pt x="1842" y="1194"/>
                </a:lnTo>
                <a:lnTo>
                  <a:pt x="1842" y="1200"/>
                </a:lnTo>
                <a:lnTo>
                  <a:pt x="1842" y="1224"/>
                </a:lnTo>
                <a:lnTo>
                  <a:pt x="1842" y="1242"/>
                </a:lnTo>
                <a:lnTo>
                  <a:pt x="1842" y="1248"/>
                </a:lnTo>
                <a:lnTo>
                  <a:pt x="1842" y="1254"/>
                </a:lnTo>
                <a:lnTo>
                  <a:pt x="1836" y="1266"/>
                </a:lnTo>
                <a:lnTo>
                  <a:pt x="1842" y="1272"/>
                </a:lnTo>
                <a:lnTo>
                  <a:pt x="1842" y="1278"/>
                </a:lnTo>
                <a:lnTo>
                  <a:pt x="1848" y="1278"/>
                </a:lnTo>
                <a:lnTo>
                  <a:pt x="1848" y="1284"/>
                </a:lnTo>
                <a:lnTo>
                  <a:pt x="1830" y="1290"/>
                </a:lnTo>
                <a:lnTo>
                  <a:pt x="1824" y="1290"/>
                </a:lnTo>
                <a:lnTo>
                  <a:pt x="1818" y="1284"/>
                </a:lnTo>
                <a:lnTo>
                  <a:pt x="1806" y="1278"/>
                </a:lnTo>
                <a:lnTo>
                  <a:pt x="1800" y="1284"/>
                </a:lnTo>
                <a:lnTo>
                  <a:pt x="1788" y="1290"/>
                </a:lnTo>
                <a:lnTo>
                  <a:pt x="1782" y="1284"/>
                </a:lnTo>
                <a:lnTo>
                  <a:pt x="1770" y="1290"/>
                </a:lnTo>
                <a:lnTo>
                  <a:pt x="1758" y="1290"/>
                </a:lnTo>
                <a:lnTo>
                  <a:pt x="1740" y="1284"/>
                </a:lnTo>
                <a:lnTo>
                  <a:pt x="1734" y="1278"/>
                </a:lnTo>
                <a:lnTo>
                  <a:pt x="1722" y="1272"/>
                </a:lnTo>
                <a:lnTo>
                  <a:pt x="1716" y="1266"/>
                </a:lnTo>
                <a:lnTo>
                  <a:pt x="1710" y="1260"/>
                </a:lnTo>
                <a:lnTo>
                  <a:pt x="1698" y="1260"/>
                </a:lnTo>
                <a:lnTo>
                  <a:pt x="1692" y="1266"/>
                </a:lnTo>
                <a:lnTo>
                  <a:pt x="1692" y="1278"/>
                </a:lnTo>
                <a:lnTo>
                  <a:pt x="1698" y="1290"/>
                </a:lnTo>
                <a:lnTo>
                  <a:pt x="1698" y="1296"/>
                </a:lnTo>
                <a:lnTo>
                  <a:pt x="1698" y="1308"/>
                </a:lnTo>
                <a:lnTo>
                  <a:pt x="1692" y="1314"/>
                </a:lnTo>
                <a:lnTo>
                  <a:pt x="1686" y="1314"/>
                </a:lnTo>
                <a:lnTo>
                  <a:pt x="1686" y="1320"/>
                </a:lnTo>
                <a:lnTo>
                  <a:pt x="1680" y="1326"/>
                </a:lnTo>
                <a:lnTo>
                  <a:pt x="1668" y="1338"/>
                </a:lnTo>
                <a:lnTo>
                  <a:pt x="1662" y="1344"/>
                </a:lnTo>
                <a:lnTo>
                  <a:pt x="1650" y="1344"/>
                </a:lnTo>
                <a:lnTo>
                  <a:pt x="1632" y="1344"/>
                </a:lnTo>
                <a:lnTo>
                  <a:pt x="1632" y="1356"/>
                </a:lnTo>
                <a:lnTo>
                  <a:pt x="1632" y="1368"/>
                </a:lnTo>
                <a:lnTo>
                  <a:pt x="1632" y="1374"/>
                </a:lnTo>
                <a:lnTo>
                  <a:pt x="1638" y="1374"/>
                </a:lnTo>
                <a:lnTo>
                  <a:pt x="1638" y="1404"/>
                </a:lnTo>
                <a:lnTo>
                  <a:pt x="1638" y="1410"/>
                </a:lnTo>
                <a:lnTo>
                  <a:pt x="1632" y="1416"/>
                </a:lnTo>
                <a:lnTo>
                  <a:pt x="1620" y="1422"/>
                </a:lnTo>
                <a:lnTo>
                  <a:pt x="1614" y="1422"/>
                </a:lnTo>
                <a:lnTo>
                  <a:pt x="1602" y="1428"/>
                </a:lnTo>
                <a:lnTo>
                  <a:pt x="1596" y="1434"/>
                </a:lnTo>
                <a:lnTo>
                  <a:pt x="1596" y="1446"/>
                </a:lnTo>
                <a:lnTo>
                  <a:pt x="1596" y="1458"/>
                </a:lnTo>
                <a:lnTo>
                  <a:pt x="1596" y="1470"/>
                </a:lnTo>
                <a:lnTo>
                  <a:pt x="1602" y="1476"/>
                </a:lnTo>
                <a:lnTo>
                  <a:pt x="1596" y="1488"/>
                </a:lnTo>
                <a:lnTo>
                  <a:pt x="1596" y="1494"/>
                </a:lnTo>
                <a:lnTo>
                  <a:pt x="1590" y="1500"/>
                </a:lnTo>
                <a:lnTo>
                  <a:pt x="1590" y="1506"/>
                </a:lnTo>
                <a:lnTo>
                  <a:pt x="1584" y="1512"/>
                </a:lnTo>
                <a:lnTo>
                  <a:pt x="1572" y="1512"/>
                </a:lnTo>
                <a:lnTo>
                  <a:pt x="1578" y="1530"/>
                </a:lnTo>
                <a:lnTo>
                  <a:pt x="1578" y="1542"/>
                </a:lnTo>
                <a:lnTo>
                  <a:pt x="1572" y="1560"/>
                </a:lnTo>
                <a:lnTo>
                  <a:pt x="1572" y="1572"/>
                </a:lnTo>
                <a:lnTo>
                  <a:pt x="1572" y="1578"/>
                </a:lnTo>
                <a:lnTo>
                  <a:pt x="1572" y="1590"/>
                </a:lnTo>
                <a:lnTo>
                  <a:pt x="1572" y="1596"/>
                </a:lnTo>
                <a:lnTo>
                  <a:pt x="1572" y="1602"/>
                </a:lnTo>
                <a:lnTo>
                  <a:pt x="1566" y="1608"/>
                </a:lnTo>
                <a:lnTo>
                  <a:pt x="1566" y="1620"/>
                </a:lnTo>
                <a:lnTo>
                  <a:pt x="1560" y="1620"/>
                </a:lnTo>
                <a:lnTo>
                  <a:pt x="1560" y="1638"/>
                </a:lnTo>
                <a:lnTo>
                  <a:pt x="1542" y="1638"/>
                </a:lnTo>
                <a:lnTo>
                  <a:pt x="1524" y="1638"/>
                </a:lnTo>
                <a:lnTo>
                  <a:pt x="1518" y="1638"/>
                </a:lnTo>
                <a:lnTo>
                  <a:pt x="1506" y="1632"/>
                </a:lnTo>
                <a:lnTo>
                  <a:pt x="1494" y="1638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64" name="Freeform 8"/>
          <p:cNvSpPr>
            <a:spLocks/>
          </p:cNvSpPr>
          <p:nvPr/>
        </p:nvSpPr>
        <p:spPr bwMode="gray">
          <a:xfrm>
            <a:off x="4872038" y="828675"/>
            <a:ext cx="2568575" cy="1897063"/>
          </a:xfrm>
          <a:custGeom>
            <a:avLst/>
            <a:gdLst>
              <a:gd name="T0" fmla="*/ 190628 w 2664"/>
              <a:gd name="T1" fmla="*/ 27757 h 1974"/>
              <a:gd name="T2" fmla="*/ 184901 w 2664"/>
              <a:gd name="T3" fmla="*/ 30206 h 1974"/>
              <a:gd name="T4" fmla="*/ 177538 w 2664"/>
              <a:gd name="T5" fmla="*/ 41636 h 1974"/>
              <a:gd name="T6" fmla="*/ 167720 w 2664"/>
              <a:gd name="T7" fmla="*/ 42452 h 1974"/>
              <a:gd name="T8" fmla="*/ 161993 w 2664"/>
              <a:gd name="T9" fmla="*/ 50616 h 1974"/>
              <a:gd name="T10" fmla="*/ 152993 w 2664"/>
              <a:gd name="T11" fmla="*/ 52249 h 1974"/>
              <a:gd name="T12" fmla="*/ 140721 w 2664"/>
              <a:gd name="T13" fmla="*/ 57147 h 1974"/>
              <a:gd name="T14" fmla="*/ 132540 w 2664"/>
              <a:gd name="T15" fmla="*/ 63678 h 1974"/>
              <a:gd name="T16" fmla="*/ 135812 w 2664"/>
              <a:gd name="T17" fmla="*/ 72658 h 1974"/>
              <a:gd name="T18" fmla="*/ 125995 w 2664"/>
              <a:gd name="T19" fmla="*/ 80822 h 1974"/>
              <a:gd name="T20" fmla="*/ 114541 w 2664"/>
              <a:gd name="T21" fmla="*/ 84904 h 1974"/>
              <a:gd name="T22" fmla="*/ 105541 w 2664"/>
              <a:gd name="T23" fmla="*/ 84088 h 1974"/>
              <a:gd name="T24" fmla="*/ 104723 w 2664"/>
              <a:gd name="T25" fmla="*/ 101232 h 1974"/>
              <a:gd name="T26" fmla="*/ 103905 w 2664"/>
              <a:gd name="T27" fmla="*/ 109396 h 1974"/>
              <a:gd name="T28" fmla="*/ 103905 w 2664"/>
              <a:gd name="T29" fmla="*/ 125723 h 1974"/>
              <a:gd name="T30" fmla="*/ 94905 w 2664"/>
              <a:gd name="T31" fmla="*/ 132254 h 1974"/>
              <a:gd name="T32" fmla="*/ 88360 w 2664"/>
              <a:gd name="T33" fmla="*/ 138785 h 1974"/>
              <a:gd name="T34" fmla="*/ 82633 w 2664"/>
              <a:gd name="T35" fmla="*/ 137153 h 1974"/>
              <a:gd name="T36" fmla="*/ 71179 w 2664"/>
              <a:gd name="T37" fmla="*/ 137969 h 1974"/>
              <a:gd name="T38" fmla="*/ 59725 w 2664"/>
              <a:gd name="T39" fmla="*/ 133887 h 1974"/>
              <a:gd name="T40" fmla="*/ 50725 w 2664"/>
              <a:gd name="T41" fmla="*/ 123274 h 1974"/>
              <a:gd name="T42" fmla="*/ 43362 w 2664"/>
              <a:gd name="T43" fmla="*/ 112661 h 1974"/>
              <a:gd name="T44" fmla="*/ 43362 w 2664"/>
              <a:gd name="T45" fmla="*/ 102865 h 1974"/>
              <a:gd name="T46" fmla="*/ 43362 w 2664"/>
              <a:gd name="T47" fmla="*/ 89802 h 1974"/>
              <a:gd name="T48" fmla="*/ 41725 w 2664"/>
              <a:gd name="T49" fmla="*/ 79189 h 1974"/>
              <a:gd name="T50" fmla="*/ 33544 w 2664"/>
              <a:gd name="T51" fmla="*/ 79189 h 1974"/>
              <a:gd name="T52" fmla="*/ 26999 w 2664"/>
              <a:gd name="T53" fmla="*/ 84088 h 1974"/>
              <a:gd name="T54" fmla="*/ 22090 w 2664"/>
              <a:gd name="T55" fmla="*/ 87353 h 1974"/>
              <a:gd name="T56" fmla="*/ 15545 w 2664"/>
              <a:gd name="T57" fmla="*/ 84904 h 1974"/>
              <a:gd name="T58" fmla="*/ 2454 w 2664"/>
              <a:gd name="T59" fmla="*/ 82455 h 1974"/>
              <a:gd name="T60" fmla="*/ 818 w 2664"/>
              <a:gd name="T61" fmla="*/ 75924 h 1974"/>
              <a:gd name="T62" fmla="*/ 5727 w 2664"/>
              <a:gd name="T63" fmla="*/ 66127 h 1974"/>
              <a:gd name="T64" fmla="*/ 13090 w 2664"/>
              <a:gd name="T65" fmla="*/ 63678 h 1974"/>
              <a:gd name="T66" fmla="*/ 18817 w 2664"/>
              <a:gd name="T67" fmla="*/ 61229 h 1974"/>
              <a:gd name="T68" fmla="*/ 23726 w 2664"/>
              <a:gd name="T69" fmla="*/ 57963 h 1974"/>
              <a:gd name="T70" fmla="*/ 30271 w 2664"/>
              <a:gd name="T71" fmla="*/ 45718 h 1974"/>
              <a:gd name="T72" fmla="*/ 31908 w 2664"/>
              <a:gd name="T73" fmla="*/ 35105 h 1974"/>
              <a:gd name="T74" fmla="*/ 36817 w 2664"/>
              <a:gd name="T75" fmla="*/ 26124 h 1974"/>
              <a:gd name="T76" fmla="*/ 40089 w 2664"/>
              <a:gd name="T77" fmla="*/ 18777 h 1974"/>
              <a:gd name="T78" fmla="*/ 49089 w 2664"/>
              <a:gd name="T79" fmla="*/ 15511 h 1974"/>
              <a:gd name="T80" fmla="*/ 59725 w 2664"/>
              <a:gd name="T81" fmla="*/ 11429 h 1974"/>
              <a:gd name="T82" fmla="*/ 67088 w 2664"/>
              <a:gd name="T83" fmla="*/ 8980 h 1974"/>
              <a:gd name="T84" fmla="*/ 73633 w 2664"/>
              <a:gd name="T85" fmla="*/ 10613 h 1974"/>
              <a:gd name="T86" fmla="*/ 79360 w 2664"/>
              <a:gd name="T87" fmla="*/ 15511 h 1974"/>
              <a:gd name="T88" fmla="*/ 88360 w 2664"/>
              <a:gd name="T89" fmla="*/ 13879 h 1974"/>
              <a:gd name="T90" fmla="*/ 96541 w 2664"/>
              <a:gd name="T91" fmla="*/ 16328 h 1974"/>
              <a:gd name="T92" fmla="*/ 101450 w 2664"/>
              <a:gd name="T93" fmla="*/ 11429 h 1974"/>
              <a:gd name="T94" fmla="*/ 109632 w 2664"/>
              <a:gd name="T95" fmla="*/ 10613 h 1974"/>
              <a:gd name="T96" fmla="*/ 112086 w 2664"/>
              <a:gd name="T97" fmla="*/ 5715 h 1974"/>
              <a:gd name="T98" fmla="*/ 120268 w 2664"/>
              <a:gd name="T99" fmla="*/ 3266 h 1974"/>
              <a:gd name="T100" fmla="*/ 125995 w 2664"/>
              <a:gd name="T101" fmla="*/ 816 h 1974"/>
              <a:gd name="T102" fmla="*/ 132540 w 2664"/>
              <a:gd name="T103" fmla="*/ 6531 h 1974"/>
              <a:gd name="T104" fmla="*/ 141539 w 2664"/>
              <a:gd name="T105" fmla="*/ 8980 h 1974"/>
              <a:gd name="T106" fmla="*/ 147266 w 2664"/>
              <a:gd name="T107" fmla="*/ 19593 h 1974"/>
              <a:gd name="T108" fmla="*/ 153812 w 2664"/>
              <a:gd name="T109" fmla="*/ 26124 h 1974"/>
              <a:gd name="T110" fmla="*/ 161993 w 2664"/>
              <a:gd name="T111" fmla="*/ 28573 h 1974"/>
              <a:gd name="T112" fmla="*/ 166902 w 2664"/>
              <a:gd name="T113" fmla="*/ 24492 h 1974"/>
              <a:gd name="T114" fmla="*/ 170175 w 2664"/>
              <a:gd name="T115" fmla="*/ 23675 h 1974"/>
              <a:gd name="T116" fmla="*/ 173447 w 2664"/>
              <a:gd name="T117" fmla="*/ 23675 h 1974"/>
              <a:gd name="T118" fmla="*/ 178356 w 2664"/>
              <a:gd name="T119" fmla="*/ 20410 h 1974"/>
              <a:gd name="T120" fmla="*/ 185719 w 2664"/>
              <a:gd name="T121" fmla="*/ 19593 h 1974"/>
              <a:gd name="T122" fmla="*/ 192264 w 2664"/>
              <a:gd name="T123" fmla="*/ 17960 h 197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664" h="1974">
                <a:moveTo>
                  <a:pt x="2646" y="246"/>
                </a:moveTo>
                <a:lnTo>
                  <a:pt x="2640" y="270"/>
                </a:lnTo>
                <a:lnTo>
                  <a:pt x="2652" y="282"/>
                </a:lnTo>
                <a:lnTo>
                  <a:pt x="2664" y="288"/>
                </a:lnTo>
                <a:lnTo>
                  <a:pt x="2664" y="300"/>
                </a:lnTo>
                <a:lnTo>
                  <a:pt x="2652" y="300"/>
                </a:lnTo>
                <a:lnTo>
                  <a:pt x="2652" y="312"/>
                </a:lnTo>
                <a:lnTo>
                  <a:pt x="2646" y="306"/>
                </a:lnTo>
                <a:lnTo>
                  <a:pt x="2646" y="318"/>
                </a:lnTo>
                <a:lnTo>
                  <a:pt x="2634" y="318"/>
                </a:lnTo>
                <a:lnTo>
                  <a:pt x="2634" y="324"/>
                </a:lnTo>
                <a:lnTo>
                  <a:pt x="2652" y="330"/>
                </a:lnTo>
                <a:lnTo>
                  <a:pt x="2640" y="342"/>
                </a:lnTo>
                <a:lnTo>
                  <a:pt x="2640" y="348"/>
                </a:lnTo>
                <a:lnTo>
                  <a:pt x="2640" y="360"/>
                </a:lnTo>
                <a:lnTo>
                  <a:pt x="2616" y="378"/>
                </a:lnTo>
                <a:lnTo>
                  <a:pt x="2622" y="384"/>
                </a:lnTo>
                <a:lnTo>
                  <a:pt x="2622" y="390"/>
                </a:lnTo>
                <a:lnTo>
                  <a:pt x="2598" y="408"/>
                </a:lnTo>
                <a:lnTo>
                  <a:pt x="2598" y="420"/>
                </a:lnTo>
                <a:lnTo>
                  <a:pt x="2592" y="432"/>
                </a:lnTo>
                <a:lnTo>
                  <a:pt x="2592" y="444"/>
                </a:lnTo>
                <a:lnTo>
                  <a:pt x="2592" y="450"/>
                </a:lnTo>
                <a:lnTo>
                  <a:pt x="2586" y="450"/>
                </a:lnTo>
                <a:lnTo>
                  <a:pt x="2574" y="444"/>
                </a:lnTo>
                <a:lnTo>
                  <a:pt x="2574" y="420"/>
                </a:lnTo>
                <a:lnTo>
                  <a:pt x="2562" y="420"/>
                </a:lnTo>
                <a:lnTo>
                  <a:pt x="2562" y="426"/>
                </a:lnTo>
                <a:lnTo>
                  <a:pt x="2550" y="438"/>
                </a:lnTo>
                <a:lnTo>
                  <a:pt x="2538" y="438"/>
                </a:lnTo>
                <a:lnTo>
                  <a:pt x="2538" y="432"/>
                </a:lnTo>
                <a:lnTo>
                  <a:pt x="2538" y="420"/>
                </a:lnTo>
                <a:lnTo>
                  <a:pt x="2538" y="408"/>
                </a:lnTo>
                <a:lnTo>
                  <a:pt x="2532" y="408"/>
                </a:lnTo>
                <a:lnTo>
                  <a:pt x="2532" y="414"/>
                </a:lnTo>
                <a:lnTo>
                  <a:pt x="2520" y="420"/>
                </a:lnTo>
                <a:lnTo>
                  <a:pt x="2508" y="438"/>
                </a:lnTo>
                <a:lnTo>
                  <a:pt x="2502" y="438"/>
                </a:lnTo>
                <a:lnTo>
                  <a:pt x="2484" y="474"/>
                </a:lnTo>
                <a:lnTo>
                  <a:pt x="2478" y="492"/>
                </a:lnTo>
                <a:lnTo>
                  <a:pt x="2472" y="516"/>
                </a:lnTo>
                <a:lnTo>
                  <a:pt x="2466" y="522"/>
                </a:lnTo>
                <a:lnTo>
                  <a:pt x="2460" y="516"/>
                </a:lnTo>
                <a:lnTo>
                  <a:pt x="2448" y="522"/>
                </a:lnTo>
                <a:lnTo>
                  <a:pt x="2460" y="528"/>
                </a:lnTo>
                <a:lnTo>
                  <a:pt x="2442" y="546"/>
                </a:lnTo>
                <a:lnTo>
                  <a:pt x="2436" y="564"/>
                </a:lnTo>
                <a:lnTo>
                  <a:pt x="2436" y="570"/>
                </a:lnTo>
                <a:lnTo>
                  <a:pt x="2430" y="570"/>
                </a:lnTo>
                <a:lnTo>
                  <a:pt x="2406" y="570"/>
                </a:lnTo>
                <a:lnTo>
                  <a:pt x="2400" y="570"/>
                </a:lnTo>
                <a:lnTo>
                  <a:pt x="2376" y="588"/>
                </a:lnTo>
                <a:lnTo>
                  <a:pt x="2364" y="594"/>
                </a:lnTo>
                <a:lnTo>
                  <a:pt x="2352" y="594"/>
                </a:lnTo>
                <a:lnTo>
                  <a:pt x="2340" y="606"/>
                </a:lnTo>
                <a:lnTo>
                  <a:pt x="2346" y="618"/>
                </a:lnTo>
                <a:lnTo>
                  <a:pt x="2334" y="630"/>
                </a:lnTo>
                <a:lnTo>
                  <a:pt x="2334" y="618"/>
                </a:lnTo>
                <a:lnTo>
                  <a:pt x="2328" y="606"/>
                </a:lnTo>
                <a:lnTo>
                  <a:pt x="2328" y="600"/>
                </a:lnTo>
                <a:lnTo>
                  <a:pt x="2322" y="582"/>
                </a:lnTo>
                <a:lnTo>
                  <a:pt x="2310" y="576"/>
                </a:lnTo>
                <a:lnTo>
                  <a:pt x="2304" y="576"/>
                </a:lnTo>
                <a:lnTo>
                  <a:pt x="2304" y="582"/>
                </a:lnTo>
                <a:lnTo>
                  <a:pt x="2310" y="588"/>
                </a:lnTo>
                <a:lnTo>
                  <a:pt x="2310" y="594"/>
                </a:lnTo>
                <a:lnTo>
                  <a:pt x="2304" y="600"/>
                </a:lnTo>
                <a:lnTo>
                  <a:pt x="2298" y="594"/>
                </a:lnTo>
                <a:lnTo>
                  <a:pt x="2292" y="594"/>
                </a:lnTo>
                <a:lnTo>
                  <a:pt x="2286" y="594"/>
                </a:lnTo>
                <a:lnTo>
                  <a:pt x="2286" y="606"/>
                </a:lnTo>
                <a:lnTo>
                  <a:pt x="2292" y="624"/>
                </a:lnTo>
                <a:lnTo>
                  <a:pt x="2286" y="636"/>
                </a:lnTo>
                <a:lnTo>
                  <a:pt x="2280" y="654"/>
                </a:lnTo>
                <a:lnTo>
                  <a:pt x="2268" y="660"/>
                </a:lnTo>
                <a:lnTo>
                  <a:pt x="2262" y="672"/>
                </a:lnTo>
                <a:lnTo>
                  <a:pt x="2256" y="678"/>
                </a:lnTo>
                <a:lnTo>
                  <a:pt x="2250" y="684"/>
                </a:lnTo>
                <a:lnTo>
                  <a:pt x="2238" y="696"/>
                </a:lnTo>
                <a:lnTo>
                  <a:pt x="2226" y="696"/>
                </a:lnTo>
                <a:lnTo>
                  <a:pt x="2226" y="678"/>
                </a:lnTo>
                <a:lnTo>
                  <a:pt x="2220" y="684"/>
                </a:lnTo>
                <a:lnTo>
                  <a:pt x="2208" y="696"/>
                </a:lnTo>
                <a:lnTo>
                  <a:pt x="2202" y="690"/>
                </a:lnTo>
                <a:lnTo>
                  <a:pt x="2196" y="690"/>
                </a:lnTo>
                <a:lnTo>
                  <a:pt x="2190" y="690"/>
                </a:lnTo>
                <a:lnTo>
                  <a:pt x="2190" y="684"/>
                </a:lnTo>
                <a:lnTo>
                  <a:pt x="2184" y="690"/>
                </a:lnTo>
                <a:lnTo>
                  <a:pt x="2184" y="702"/>
                </a:lnTo>
                <a:lnTo>
                  <a:pt x="2190" y="714"/>
                </a:lnTo>
                <a:lnTo>
                  <a:pt x="2184" y="714"/>
                </a:lnTo>
                <a:lnTo>
                  <a:pt x="2172" y="708"/>
                </a:lnTo>
                <a:lnTo>
                  <a:pt x="2160" y="708"/>
                </a:lnTo>
                <a:lnTo>
                  <a:pt x="2142" y="720"/>
                </a:lnTo>
                <a:lnTo>
                  <a:pt x="2124" y="726"/>
                </a:lnTo>
                <a:lnTo>
                  <a:pt x="2100" y="726"/>
                </a:lnTo>
                <a:lnTo>
                  <a:pt x="2082" y="726"/>
                </a:lnTo>
                <a:lnTo>
                  <a:pt x="2058" y="726"/>
                </a:lnTo>
                <a:lnTo>
                  <a:pt x="2046" y="732"/>
                </a:lnTo>
                <a:lnTo>
                  <a:pt x="2028" y="720"/>
                </a:lnTo>
                <a:lnTo>
                  <a:pt x="2004" y="720"/>
                </a:lnTo>
                <a:lnTo>
                  <a:pt x="1986" y="732"/>
                </a:lnTo>
                <a:lnTo>
                  <a:pt x="1968" y="732"/>
                </a:lnTo>
                <a:lnTo>
                  <a:pt x="1962" y="744"/>
                </a:lnTo>
                <a:lnTo>
                  <a:pt x="1956" y="750"/>
                </a:lnTo>
                <a:lnTo>
                  <a:pt x="1956" y="762"/>
                </a:lnTo>
                <a:lnTo>
                  <a:pt x="1950" y="762"/>
                </a:lnTo>
                <a:lnTo>
                  <a:pt x="1938" y="762"/>
                </a:lnTo>
                <a:lnTo>
                  <a:pt x="1932" y="768"/>
                </a:lnTo>
                <a:lnTo>
                  <a:pt x="1932" y="780"/>
                </a:lnTo>
                <a:lnTo>
                  <a:pt x="1932" y="786"/>
                </a:lnTo>
                <a:lnTo>
                  <a:pt x="1926" y="786"/>
                </a:lnTo>
                <a:lnTo>
                  <a:pt x="1920" y="786"/>
                </a:lnTo>
                <a:lnTo>
                  <a:pt x="1914" y="792"/>
                </a:lnTo>
                <a:lnTo>
                  <a:pt x="1908" y="798"/>
                </a:lnTo>
                <a:lnTo>
                  <a:pt x="1890" y="786"/>
                </a:lnTo>
                <a:lnTo>
                  <a:pt x="1884" y="786"/>
                </a:lnTo>
                <a:lnTo>
                  <a:pt x="1878" y="786"/>
                </a:lnTo>
                <a:lnTo>
                  <a:pt x="1872" y="798"/>
                </a:lnTo>
                <a:lnTo>
                  <a:pt x="1854" y="804"/>
                </a:lnTo>
                <a:lnTo>
                  <a:pt x="1836" y="798"/>
                </a:lnTo>
                <a:lnTo>
                  <a:pt x="1836" y="810"/>
                </a:lnTo>
                <a:lnTo>
                  <a:pt x="1824" y="816"/>
                </a:lnTo>
                <a:lnTo>
                  <a:pt x="1818" y="828"/>
                </a:lnTo>
                <a:lnTo>
                  <a:pt x="1824" y="840"/>
                </a:lnTo>
                <a:lnTo>
                  <a:pt x="1818" y="852"/>
                </a:lnTo>
                <a:lnTo>
                  <a:pt x="1824" y="864"/>
                </a:lnTo>
                <a:lnTo>
                  <a:pt x="1824" y="882"/>
                </a:lnTo>
                <a:lnTo>
                  <a:pt x="1818" y="894"/>
                </a:lnTo>
                <a:lnTo>
                  <a:pt x="1812" y="906"/>
                </a:lnTo>
                <a:lnTo>
                  <a:pt x="1806" y="912"/>
                </a:lnTo>
                <a:lnTo>
                  <a:pt x="1812" y="924"/>
                </a:lnTo>
                <a:lnTo>
                  <a:pt x="1818" y="930"/>
                </a:lnTo>
                <a:lnTo>
                  <a:pt x="1830" y="942"/>
                </a:lnTo>
                <a:lnTo>
                  <a:pt x="1848" y="954"/>
                </a:lnTo>
                <a:lnTo>
                  <a:pt x="1860" y="966"/>
                </a:lnTo>
                <a:lnTo>
                  <a:pt x="1866" y="966"/>
                </a:lnTo>
                <a:lnTo>
                  <a:pt x="1842" y="978"/>
                </a:lnTo>
                <a:lnTo>
                  <a:pt x="1842" y="984"/>
                </a:lnTo>
                <a:lnTo>
                  <a:pt x="1848" y="996"/>
                </a:lnTo>
                <a:lnTo>
                  <a:pt x="1854" y="990"/>
                </a:lnTo>
                <a:lnTo>
                  <a:pt x="1866" y="984"/>
                </a:lnTo>
                <a:lnTo>
                  <a:pt x="1872" y="990"/>
                </a:lnTo>
                <a:lnTo>
                  <a:pt x="1866" y="1002"/>
                </a:lnTo>
                <a:lnTo>
                  <a:pt x="1854" y="1008"/>
                </a:lnTo>
                <a:lnTo>
                  <a:pt x="1860" y="1026"/>
                </a:lnTo>
                <a:lnTo>
                  <a:pt x="1860" y="1056"/>
                </a:lnTo>
                <a:lnTo>
                  <a:pt x="1854" y="1062"/>
                </a:lnTo>
                <a:lnTo>
                  <a:pt x="1848" y="1062"/>
                </a:lnTo>
                <a:lnTo>
                  <a:pt x="1836" y="1050"/>
                </a:lnTo>
                <a:lnTo>
                  <a:pt x="1830" y="1056"/>
                </a:lnTo>
                <a:lnTo>
                  <a:pt x="1824" y="1068"/>
                </a:lnTo>
                <a:lnTo>
                  <a:pt x="1830" y="1080"/>
                </a:lnTo>
                <a:lnTo>
                  <a:pt x="1830" y="1086"/>
                </a:lnTo>
                <a:lnTo>
                  <a:pt x="1818" y="1092"/>
                </a:lnTo>
                <a:lnTo>
                  <a:pt x="1782" y="1098"/>
                </a:lnTo>
                <a:lnTo>
                  <a:pt x="1770" y="1098"/>
                </a:lnTo>
                <a:lnTo>
                  <a:pt x="1758" y="1098"/>
                </a:lnTo>
                <a:lnTo>
                  <a:pt x="1746" y="1116"/>
                </a:lnTo>
                <a:lnTo>
                  <a:pt x="1734" y="1116"/>
                </a:lnTo>
                <a:lnTo>
                  <a:pt x="1716" y="1116"/>
                </a:lnTo>
                <a:lnTo>
                  <a:pt x="1692" y="1116"/>
                </a:lnTo>
                <a:lnTo>
                  <a:pt x="1668" y="1110"/>
                </a:lnTo>
                <a:lnTo>
                  <a:pt x="1662" y="1110"/>
                </a:lnTo>
                <a:lnTo>
                  <a:pt x="1644" y="1104"/>
                </a:lnTo>
                <a:lnTo>
                  <a:pt x="1626" y="1092"/>
                </a:lnTo>
                <a:lnTo>
                  <a:pt x="1626" y="1068"/>
                </a:lnTo>
                <a:lnTo>
                  <a:pt x="1596" y="1092"/>
                </a:lnTo>
                <a:lnTo>
                  <a:pt x="1584" y="1104"/>
                </a:lnTo>
                <a:lnTo>
                  <a:pt x="1584" y="1116"/>
                </a:lnTo>
                <a:lnTo>
                  <a:pt x="1590" y="1128"/>
                </a:lnTo>
                <a:lnTo>
                  <a:pt x="1596" y="1146"/>
                </a:lnTo>
                <a:lnTo>
                  <a:pt x="1590" y="1158"/>
                </a:lnTo>
                <a:lnTo>
                  <a:pt x="1590" y="1164"/>
                </a:lnTo>
                <a:lnTo>
                  <a:pt x="1584" y="1164"/>
                </a:lnTo>
                <a:lnTo>
                  <a:pt x="1572" y="1170"/>
                </a:lnTo>
                <a:lnTo>
                  <a:pt x="1566" y="1164"/>
                </a:lnTo>
                <a:lnTo>
                  <a:pt x="1560" y="1158"/>
                </a:lnTo>
                <a:lnTo>
                  <a:pt x="1548" y="1152"/>
                </a:lnTo>
                <a:lnTo>
                  <a:pt x="1530" y="1152"/>
                </a:lnTo>
                <a:lnTo>
                  <a:pt x="1518" y="1164"/>
                </a:lnTo>
                <a:lnTo>
                  <a:pt x="1518" y="1152"/>
                </a:lnTo>
                <a:lnTo>
                  <a:pt x="1512" y="1134"/>
                </a:lnTo>
                <a:lnTo>
                  <a:pt x="1500" y="1140"/>
                </a:lnTo>
                <a:lnTo>
                  <a:pt x="1494" y="1140"/>
                </a:lnTo>
                <a:lnTo>
                  <a:pt x="1482" y="1134"/>
                </a:lnTo>
                <a:lnTo>
                  <a:pt x="1470" y="1140"/>
                </a:lnTo>
                <a:lnTo>
                  <a:pt x="1464" y="1140"/>
                </a:lnTo>
                <a:lnTo>
                  <a:pt x="1458" y="1146"/>
                </a:lnTo>
                <a:lnTo>
                  <a:pt x="1458" y="1152"/>
                </a:lnTo>
                <a:lnTo>
                  <a:pt x="1458" y="1158"/>
                </a:lnTo>
                <a:lnTo>
                  <a:pt x="1452" y="1164"/>
                </a:lnTo>
                <a:lnTo>
                  <a:pt x="1452" y="1170"/>
                </a:lnTo>
                <a:lnTo>
                  <a:pt x="1440" y="1182"/>
                </a:lnTo>
                <a:lnTo>
                  <a:pt x="1416" y="1200"/>
                </a:lnTo>
                <a:lnTo>
                  <a:pt x="1422" y="1212"/>
                </a:lnTo>
                <a:lnTo>
                  <a:pt x="1416" y="1218"/>
                </a:lnTo>
                <a:lnTo>
                  <a:pt x="1410" y="1224"/>
                </a:lnTo>
                <a:lnTo>
                  <a:pt x="1428" y="1242"/>
                </a:lnTo>
                <a:lnTo>
                  <a:pt x="1440" y="1260"/>
                </a:lnTo>
                <a:lnTo>
                  <a:pt x="1452" y="1284"/>
                </a:lnTo>
                <a:lnTo>
                  <a:pt x="1464" y="1296"/>
                </a:lnTo>
                <a:lnTo>
                  <a:pt x="1458" y="1320"/>
                </a:lnTo>
                <a:lnTo>
                  <a:pt x="1458" y="1332"/>
                </a:lnTo>
                <a:lnTo>
                  <a:pt x="1452" y="1350"/>
                </a:lnTo>
                <a:lnTo>
                  <a:pt x="1434" y="1362"/>
                </a:lnTo>
                <a:lnTo>
                  <a:pt x="1434" y="1380"/>
                </a:lnTo>
                <a:lnTo>
                  <a:pt x="1434" y="1392"/>
                </a:lnTo>
                <a:lnTo>
                  <a:pt x="1446" y="1410"/>
                </a:lnTo>
                <a:lnTo>
                  <a:pt x="1458" y="1404"/>
                </a:lnTo>
                <a:lnTo>
                  <a:pt x="1458" y="1398"/>
                </a:lnTo>
                <a:lnTo>
                  <a:pt x="1464" y="1392"/>
                </a:lnTo>
                <a:lnTo>
                  <a:pt x="1476" y="1392"/>
                </a:lnTo>
                <a:lnTo>
                  <a:pt x="1476" y="1386"/>
                </a:lnTo>
                <a:lnTo>
                  <a:pt x="1482" y="1392"/>
                </a:lnTo>
                <a:lnTo>
                  <a:pt x="1482" y="1398"/>
                </a:lnTo>
                <a:lnTo>
                  <a:pt x="1482" y="1404"/>
                </a:lnTo>
                <a:lnTo>
                  <a:pt x="1476" y="1410"/>
                </a:lnTo>
                <a:lnTo>
                  <a:pt x="1464" y="1422"/>
                </a:lnTo>
                <a:lnTo>
                  <a:pt x="1452" y="1440"/>
                </a:lnTo>
                <a:lnTo>
                  <a:pt x="1452" y="1458"/>
                </a:lnTo>
                <a:lnTo>
                  <a:pt x="1458" y="1488"/>
                </a:lnTo>
                <a:lnTo>
                  <a:pt x="1434" y="1494"/>
                </a:lnTo>
                <a:lnTo>
                  <a:pt x="1422" y="1506"/>
                </a:lnTo>
                <a:lnTo>
                  <a:pt x="1416" y="1518"/>
                </a:lnTo>
                <a:lnTo>
                  <a:pt x="1434" y="1524"/>
                </a:lnTo>
                <a:lnTo>
                  <a:pt x="1440" y="1542"/>
                </a:lnTo>
                <a:lnTo>
                  <a:pt x="1452" y="1548"/>
                </a:lnTo>
                <a:lnTo>
                  <a:pt x="1458" y="1566"/>
                </a:lnTo>
                <a:lnTo>
                  <a:pt x="1464" y="1572"/>
                </a:lnTo>
                <a:lnTo>
                  <a:pt x="1470" y="1590"/>
                </a:lnTo>
                <a:lnTo>
                  <a:pt x="1458" y="1590"/>
                </a:lnTo>
                <a:lnTo>
                  <a:pt x="1452" y="1602"/>
                </a:lnTo>
                <a:lnTo>
                  <a:pt x="1440" y="1620"/>
                </a:lnTo>
                <a:lnTo>
                  <a:pt x="1440" y="1644"/>
                </a:lnTo>
                <a:lnTo>
                  <a:pt x="1428" y="1662"/>
                </a:lnTo>
                <a:lnTo>
                  <a:pt x="1428" y="1674"/>
                </a:lnTo>
                <a:lnTo>
                  <a:pt x="1422" y="1692"/>
                </a:lnTo>
                <a:lnTo>
                  <a:pt x="1422" y="1716"/>
                </a:lnTo>
                <a:lnTo>
                  <a:pt x="1428" y="1734"/>
                </a:lnTo>
                <a:lnTo>
                  <a:pt x="1410" y="1746"/>
                </a:lnTo>
                <a:lnTo>
                  <a:pt x="1398" y="1722"/>
                </a:lnTo>
                <a:lnTo>
                  <a:pt x="1368" y="1722"/>
                </a:lnTo>
                <a:lnTo>
                  <a:pt x="1362" y="1740"/>
                </a:lnTo>
                <a:lnTo>
                  <a:pt x="1368" y="1752"/>
                </a:lnTo>
                <a:lnTo>
                  <a:pt x="1374" y="1764"/>
                </a:lnTo>
                <a:lnTo>
                  <a:pt x="1380" y="1776"/>
                </a:lnTo>
                <a:lnTo>
                  <a:pt x="1380" y="1782"/>
                </a:lnTo>
                <a:lnTo>
                  <a:pt x="1374" y="1782"/>
                </a:lnTo>
                <a:lnTo>
                  <a:pt x="1368" y="1794"/>
                </a:lnTo>
                <a:lnTo>
                  <a:pt x="1350" y="1800"/>
                </a:lnTo>
                <a:lnTo>
                  <a:pt x="1338" y="1806"/>
                </a:lnTo>
                <a:lnTo>
                  <a:pt x="1332" y="1812"/>
                </a:lnTo>
                <a:lnTo>
                  <a:pt x="1326" y="1824"/>
                </a:lnTo>
                <a:lnTo>
                  <a:pt x="1320" y="1830"/>
                </a:lnTo>
                <a:lnTo>
                  <a:pt x="1308" y="1830"/>
                </a:lnTo>
                <a:lnTo>
                  <a:pt x="1308" y="1836"/>
                </a:lnTo>
                <a:lnTo>
                  <a:pt x="1308" y="1842"/>
                </a:lnTo>
                <a:lnTo>
                  <a:pt x="1308" y="1854"/>
                </a:lnTo>
                <a:lnTo>
                  <a:pt x="1296" y="1860"/>
                </a:lnTo>
                <a:lnTo>
                  <a:pt x="1290" y="1854"/>
                </a:lnTo>
                <a:lnTo>
                  <a:pt x="1266" y="1866"/>
                </a:lnTo>
                <a:lnTo>
                  <a:pt x="1260" y="1860"/>
                </a:lnTo>
                <a:lnTo>
                  <a:pt x="1248" y="1854"/>
                </a:lnTo>
                <a:lnTo>
                  <a:pt x="1242" y="1878"/>
                </a:lnTo>
                <a:lnTo>
                  <a:pt x="1242" y="1884"/>
                </a:lnTo>
                <a:lnTo>
                  <a:pt x="1260" y="1890"/>
                </a:lnTo>
                <a:lnTo>
                  <a:pt x="1266" y="1902"/>
                </a:lnTo>
                <a:lnTo>
                  <a:pt x="1260" y="1908"/>
                </a:lnTo>
                <a:lnTo>
                  <a:pt x="1260" y="1914"/>
                </a:lnTo>
                <a:lnTo>
                  <a:pt x="1236" y="1914"/>
                </a:lnTo>
                <a:lnTo>
                  <a:pt x="1218" y="1914"/>
                </a:lnTo>
                <a:lnTo>
                  <a:pt x="1218" y="1926"/>
                </a:lnTo>
                <a:lnTo>
                  <a:pt x="1230" y="1938"/>
                </a:lnTo>
                <a:lnTo>
                  <a:pt x="1242" y="1956"/>
                </a:lnTo>
                <a:lnTo>
                  <a:pt x="1248" y="1974"/>
                </a:lnTo>
                <a:lnTo>
                  <a:pt x="1230" y="1974"/>
                </a:lnTo>
                <a:lnTo>
                  <a:pt x="1212" y="1956"/>
                </a:lnTo>
                <a:lnTo>
                  <a:pt x="1206" y="1950"/>
                </a:lnTo>
                <a:lnTo>
                  <a:pt x="1194" y="1950"/>
                </a:lnTo>
                <a:lnTo>
                  <a:pt x="1182" y="1920"/>
                </a:lnTo>
                <a:lnTo>
                  <a:pt x="1176" y="1920"/>
                </a:lnTo>
                <a:lnTo>
                  <a:pt x="1176" y="1908"/>
                </a:lnTo>
                <a:lnTo>
                  <a:pt x="1164" y="1908"/>
                </a:lnTo>
                <a:lnTo>
                  <a:pt x="1152" y="1908"/>
                </a:lnTo>
                <a:lnTo>
                  <a:pt x="1140" y="1908"/>
                </a:lnTo>
                <a:lnTo>
                  <a:pt x="1134" y="1902"/>
                </a:lnTo>
                <a:lnTo>
                  <a:pt x="1134" y="1890"/>
                </a:lnTo>
                <a:lnTo>
                  <a:pt x="1128" y="1884"/>
                </a:lnTo>
                <a:lnTo>
                  <a:pt x="1110" y="1884"/>
                </a:lnTo>
                <a:lnTo>
                  <a:pt x="1098" y="1896"/>
                </a:lnTo>
                <a:lnTo>
                  <a:pt x="1086" y="1908"/>
                </a:lnTo>
                <a:lnTo>
                  <a:pt x="1080" y="1920"/>
                </a:lnTo>
                <a:lnTo>
                  <a:pt x="1086" y="1938"/>
                </a:lnTo>
                <a:lnTo>
                  <a:pt x="1068" y="1938"/>
                </a:lnTo>
                <a:lnTo>
                  <a:pt x="1062" y="1932"/>
                </a:lnTo>
                <a:lnTo>
                  <a:pt x="1050" y="1932"/>
                </a:lnTo>
                <a:lnTo>
                  <a:pt x="1032" y="1914"/>
                </a:lnTo>
                <a:lnTo>
                  <a:pt x="1020" y="1914"/>
                </a:lnTo>
                <a:lnTo>
                  <a:pt x="1014" y="1914"/>
                </a:lnTo>
                <a:lnTo>
                  <a:pt x="1002" y="1914"/>
                </a:lnTo>
                <a:lnTo>
                  <a:pt x="996" y="1914"/>
                </a:lnTo>
                <a:lnTo>
                  <a:pt x="984" y="1914"/>
                </a:lnTo>
                <a:lnTo>
                  <a:pt x="972" y="1902"/>
                </a:lnTo>
                <a:lnTo>
                  <a:pt x="966" y="1908"/>
                </a:lnTo>
                <a:lnTo>
                  <a:pt x="954" y="1920"/>
                </a:lnTo>
                <a:lnTo>
                  <a:pt x="936" y="1926"/>
                </a:lnTo>
                <a:lnTo>
                  <a:pt x="930" y="1926"/>
                </a:lnTo>
                <a:lnTo>
                  <a:pt x="906" y="1926"/>
                </a:lnTo>
                <a:lnTo>
                  <a:pt x="894" y="1920"/>
                </a:lnTo>
                <a:lnTo>
                  <a:pt x="882" y="1914"/>
                </a:lnTo>
                <a:lnTo>
                  <a:pt x="876" y="1908"/>
                </a:lnTo>
                <a:lnTo>
                  <a:pt x="858" y="1902"/>
                </a:lnTo>
                <a:lnTo>
                  <a:pt x="858" y="1896"/>
                </a:lnTo>
                <a:lnTo>
                  <a:pt x="858" y="1890"/>
                </a:lnTo>
                <a:lnTo>
                  <a:pt x="852" y="1884"/>
                </a:lnTo>
                <a:lnTo>
                  <a:pt x="834" y="1890"/>
                </a:lnTo>
                <a:lnTo>
                  <a:pt x="822" y="1878"/>
                </a:lnTo>
                <a:lnTo>
                  <a:pt x="834" y="1866"/>
                </a:lnTo>
                <a:lnTo>
                  <a:pt x="822" y="1848"/>
                </a:lnTo>
                <a:lnTo>
                  <a:pt x="834" y="1830"/>
                </a:lnTo>
                <a:lnTo>
                  <a:pt x="834" y="1824"/>
                </a:lnTo>
                <a:lnTo>
                  <a:pt x="822" y="1812"/>
                </a:lnTo>
                <a:lnTo>
                  <a:pt x="786" y="1788"/>
                </a:lnTo>
                <a:lnTo>
                  <a:pt x="774" y="1776"/>
                </a:lnTo>
                <a:lnTo>
                  <a:pt x="756" y="1782"/>
                </a:lnTo>
                <a:lnTo>
                  <a:pt x="756" y="1776"/>
                </a:lnTo>
                <a:lnTo>
                  <a:pt x="756" y="1770"/>
                </a:lnTo>
                <a:lnTo>
                  <a:pt x="756" y="1764"/>
                </a:lnTo>
                <a:lnTo>
                  <a:pt x="744" y="1758"/>
                </a:lnTo>
                <a:lnTo>
                  <a:pt x="732" y="1752"/>
                </a:lnTo>
                <a:lnTo>
                  <a:pt x="726" y="1746"/>
                </a:lnTo>
                <a:lnTo>
                  <a:pt x="726" y="1740"/>
                </a:lnTo>
                <a:lnTo>
                  <a:pt x="714" y="1722"/>
                </a:lnTo>
                <a:lnTo>
                  <a:pt x="702" y="1710"/>
                </a:lnTo>
                <a:lnTo>
                  <a:pt x="702" y="1698"/>
                </a:lnTo>
                <a:lnTo>
                  <a:pt x="696" y="1686"/>
                </a:lnTo>
                <a:lnTo>
                  <a:pt x="696" y="1680"/>
                </a:lnTo>
                <a:lnTo>
                  <a:pt x="696" y="1668"/>
                </a:lnTo>
                <a:lnTo>
                  <a:pt x="702" y="1650"/>
                </a:lnTo>
                <a:lnTo>
                  <a:pt x="696" y="1638"/>
                </a:lnTo>
                <a:lnTo>
                  <a:pt x="690" y="1620"/>
                </a:lnTo>
                <a:lnTo>
                  <a:pt x="684" y="1608"/>
                </a:lnTo>
                <a:lnTo>
                  <a:pt x="678" y="1596"/>
                </a:lnTo>
                <a:lnTo>
                  <a:pt x="654" y="1590"/>
                </a:lnTo>
                <a:lnTo>
                  <a:pt x="648" y="1590"/>
                </a:lnTo>
                <a:lnTo>
                  <a:pt x="636" y="1584"/>
                </a:lnTo>
                <a:lnTo>
                  <a:pt x="630" y="1584"/>
                </a:lnTo>
                <a:lnTo>
                  <a:pt x="618" y="1572"/>
                </a:lnTo>
                <a:lnTo>
                  <a:pt x="606" y="1572"/>
                </a:lnTo>
                <a:lnTo>
                  <a:pt x="600" y="1566"/>
                </a:lnTo>
                <a:lnTo>
                  <a:pt x="600" y="1554"/>
                </a:lnTo>
                <a:lnTo>
                  <a:pt x="606" y="1548"/>
                </a:lnTo>
                <a:lnTo>
                  <a:pt x="606" y="1542"/>
                </a:lnTo>
                <a:lnTo>
                  <a:pt x="618" y="1524"/>
                </a:lnTo>
                <a:lnTo>
                  <a:pt x="642" y="1542"/>
                </a:lnTo>
                <a:lnTo>
                  <a:pt x="648" y="1536"/>
                </a:lnTo>
                <a:lnTo>
                  <a:pt x="654" y="1530"/>
                </a:lnTo>
                <a:lnTo>
                  <a:pt x="672" y="1542"/>
                </a:lnTo>
                <a:lnTo>
                  <a:pt x="672" y="1518"/>
                </a:lnTo>
                <a:lnTo>
                  <a:pt x="654" y="1512"/>
                </a:lnTo>
                <a:lnTo>
                  <a:pt x="672" y="1494"/>
                </a:lnTo>
                <a:lnTo>
                  <a:pt x="660" y="1470"/>
                </a:lnTo>
                <a:lnTo>
                  <a:pt x="630" y="1452"/>
                </a:lnTo>
                <a:lnTo>
                  <a:pt x="624" y="1452"/>
                </a:lnTo>
                <a:lnTo>
                  <a:pt x="594" y="1434"/>
                </a:lnTo>
                <a:lnTo>
                  <a:pt x="588" y="1428"/>
                </a:lnTo>
                <a:lnTo>
                  <a:pt x="594" y="1422"/>
                </a:lnTo>
                <a:lnTo>
                  <a:pt x="600" y="1416"/>
                </a:lnTo>
                <a:lnTo>
                  <a:pt x="606" y="1386"/>
                </a:lnTo>
                <a:lnTo>
                  <a:pt x="600" y="1380"/>
                </a:lnTo>
                <a:lnTo>
                  <a:pt x="606" y="1356"/>
                </a:lnTo>
                <a:lnTo>
                  <a:pt x="612" y="1350"/>
                </a:lnTo>
                <a:lnTo>
                  <a:pt x="618" y="1338"/>
                </a:lnTo>
                <a:lnTo>
                  <a:pt x="618" y="1332"/>
                </a:lnTo>
                <a:lnTo>
                  <a:pt x="624" y="1308"/>
                </a:lnTo>
                <a:lnTo>
                  <a:pt x="624" y="1302"/>
                </a:lnTo>
                <a:lnTo>
                  <a:pt x="624" y="1296"/>
                </a:lnTo>
                <a:lnTo>
                  <a:pt x="624" y="1272"/>
                </a:lnTo>
                <a:lnTo>
                  <a:pt x="618" y="1254"/>
                </a:lnTo>
                <a:lnTo>
                  <a:pt x="618" y="1248"/>
                </a:lnTo>
                <a:lnTo>
                  <a:pt x="612" y="1248"/>
                </a:lnTo>
                <a:lnTo>
                  <a:pt x="606" y="1242"/>
                </a:lnTo>
                <a:lnTo>
                  <a:pt x="600" y="1242"/>
                </a:lnTo>
                <a:lnTo>
                  <a:pt x="588" y="1230"/>
                </a:lnTo>
                <a:lnTo>
                  <a:pt x="582" y="1224"/>
                </a:lnTo>
                <a:lnTo>
                  <a:pt x="594" y="1224"/>
                </a:lnTo>
                <a:lnTo>
                  <a:pt x="612" y="1224"/>
                </a:lnTo>
                <a:lnTo>
                  <a:pt x="624" y="1218"/>
                </a:lnTo>
                <a:lnTo>
                  <a:pt x="630" y="1212"/>
                </a:lnTo>
                <a:lnTo>
                  <a:pt x="630" y="1206"/>
                </a:lnTo>
                <a:lnTo>
                  <a:pt x="630" y="1194"/>
                </a:lnTo>
                <a:lnTo>
                  <a:pt x="624" y="1188"/>
                </a:lnTo>
                <a:lnTo>
                  <a:pt x="606" y="1176"/>
                </a:lnTo>
                <a:lnTo>
                  <a:pt x="588" y="1164"/>
                </a:lnTo>
                <a:lnTo>
                  <a:pt x="588" y="1140"/>
                </a:lnTo>
                <a:lnTo>
                  <a:pt x="582" y="1122"/>
                </a:lnTo>
                <a:lnTo>
                  <a:pt x="582" y="1116"/>
                </a:lnTo>
                <a:lnTo>
                  <a:pt x="582" y="1110"/>
                </a:lnTo>
                <a:lnTo>
                  <a:pt x="570" y="1092"/>
                </a:lnTo>
                <a:lnTo>
                  <a:pt x="576" y="1086"/>
                </a:lnTo>
                <a:lnTo>
                  <a:pt x="576" y="1080"/>
                </a:lnTo>
                <a:lnTo>
                  <a:pt x="570" y="1080"/>
                </a:lnTo>
                <a:lnTo>
                  <a:pt x="564" y="1080"/>
                </a:lnTo>
                <a:lnTo>
                  <a:pt x="558" y="1074"/>
                </a:lnTo>
                <a:lnTo>
                  <a:pt x="534" y="1068"/>
                </a:lnTo>
                <a:lnTo>
                  <a:pt x="534" y="1062"/>
                </a:lnTo>
                <a:lnTo>
                  <a:pt x="528" y="1056"/>
                </a:lnTo>
                <a:lnTo>
                  <a:pt x="510" y="1062"/>
                </a:lnTo>
                <a:lnTo>
                  <a:pt x="504" y="1062"/>
                </a:lnTo>
                <a:lnTo>
                  <a:pt x="498" y="1062"/>
                </a:lnTo>
                <a:lnTo>
                  <a:pt x="480" y="1062"/>
                </a:lnTo>
                <a:lnTo>
                  <a:pt x="474" y="1068"/>
                </a:lnTo>
                <a:lnTo>
                  <a:pt x="456" y="1080"/>
                </a:lnTo>
                <a:lnTo>
                  <a:pt x="462" y="1098"/>
                </a:lnTo>
                <a:lnTo>
                  <a:pt x="456" y="1098"/>
                </a:lnTo>
                <a:lnTo>
                  <a:pt x="444" y="1116"/>
                </a:lnTo>
                <a:lnTo>
                  <a:pt x="432" y="1134"/>
                </a:lnTo>
                <a:lnTo>
                  <a:pt x="426" y="1158"/>
                </a:lnTo>
                <a:lnTo>
                  <a:pt x="438" y="1164"/>
                </a:lnTo>
                <a:lnTo>
                  <a:pt x="432" y="1176"/>
                </a:lnTo>
                <a:lnTo>
                  <a:pt x="438" y="1182"/>
                </a:lnTo>
                <a:lnTo>
                  <a:pt x="432" y="1188"/>
                </a:lnTo>
                <a:lnTo>
                  <a:pt x="426" y="1188"/>
                </a:lnTo>
                <a:lnTo>
                  <a:pt x="420" y="1188"/>
                </a:lnTo>
                <a:lnTo>
                  <a:pt x="420" y="1182"/>
                </a:lnTo>
                <a:lnTo>
                  <a:pt x="414" y="1176"/>
                </a:lnTo>
                <a:lnTo>
                  <a:pt x="408" y="1170"/>
                </a:lnTo>
                <a:lnTo>
                  <a:pt x="402" y="1170"/>
                </a:lnTo>
                <a:lnTo>
                  <a:pt x="390" y="1170"/>
                </a:lnTo>
                <a:lnTo>
                  <a:pt x="378" y="1158"/>
                </a:lnTo>
                <a:lnTo>
                  <a:pt x="372" y="1158"/>
                </a:lnTo>
                <a:lnTo>
                  <a:pt x="366" y="1158"/>
                </a:lnTo>
                <a:lnTo>
                  <a:pt x="360" y="1158"/>
                </a:lnTo>
                <a:lnTo>
                  <a:pt x="360" y="1140"/>
                </a:lnTo>
                <a:lnTo>
                  <a:pt x="354" y="1140"/>
                </a:lnTo>
                <a:lnTo>
                  <a:pt x="354" y="1128"/>
                </a:lnTo>
                <a:lnTo>
                  <a:pt x="330" y="1140"/>
                </a:lnTo>
                <a:lnTo>
                  <a:pt x="324" y="1134"/>
                </a:lnTo>
                <a:lnTo>
                  <a:pt x="324" y="1128"/>
                </a:lnTo>
                <a:lnTo>
                  <a:pt x="312" y="1134"/>
                </a:lnTo>
                <a:lnTo>
                  <a:pt x="312" y="1158"/>
                </a:lnTo>
                <a:lnTo>
                  <a:pt x="312" y="1176"/>
                </a:lnTo>
                <a:lnTo>
                  <a:pt x="318" y="1170"/>
                </a:lnTo>
                <a:lnTo>
                  <a:pt x="324" y="1188"/>
                </a:lnTo>
                <a:lnTo>
                  <a:pt x="324" y="1194"/>
                </a:lnTo>
                <a:lnTo>
                  <a:pt x="312" y="1200"/>
                </a:lnTo>
                <a:lnTo>
                  <a:pt x="306" y="1206"/>
                </a:lnTo>
                <a:lnTo>
                  <a:pt x="300" y="1224"/>
                </a:lnTo>
                <a:lnTo>
                  <a:pt x="288" y="1218"/>
                </a:lnTo>
                <a:lnTo>
                  <a:pt x="282" y="1212"/>
                </a:lnTo>
                <a:lnTo>
                  <a:pt x="276" y="1218"/>
                </a:lnTo>
                <a:lnTo>
                  <a:pt x="270" y="1218"/>
                </a:lnTo>
                <a:lnTo>
                  <a:pt x="264" y="1218"/>
                </a:lnTo>
                <a:lnTo>
                  <a:pt x="258" y="1218"/>
                </a:lnTo>
                <a:lnTo>
                  <a:pt x="252" y="1224"/>
                </a:lnTo>
                <a:lnTo>
                  <a:pt x="240" y="1218"/>
                </a:lnTo>
                <a:lnTo>
                  <a:pt x="234" y="1218"/>
                </a:lnTo>
                <a:lnTo>
                  <a:pt x="228" y="1206"/>
                </a:lnTo>
                <a:lnTo>
                  <a:pt x="228" y="1194"/>
                </a:lnTo>
                <a:lnTo>
                  <a:pt x="234" y="1188"/>
                </a:lnTo>
                <a:lnTo>
                  <a:pt x="234" y="1182"/>
                </a:lnTo>
                <a:lnTo>
                  <a:pt x="222" y="1182"/>
                </a:lnTo>
                <a:lnTo>
                  <a:pt x="210" y="1176"/>
                </a:lnTo>
                <a:lnTo>
                  <a:pt x="186" y="1188"/>
                </a:lnTo>
                <a:lnTo>
                  <a:pt x="186" y="1182"/>
                </a:lnTo>
                <a:lnTo>
                  <a:pt x="174" y="1164"/>
                </a:lnTo>
                <a:lnTo>
                  <a:pt x="168" y="1158"/>
                </a:lnTo>
                <a:lnTo>
                  <a:pt x="156" y="1152"/>
                </a:lnTo>
                <a:lnTo>
                  <a:pt x="150" y="1140"/>
                </a:lnTo>
                <a:lnTo>
                  <a:pt x="150" y="1134"/>
                </a:lnTo>
                <a:lnTo>
                  <a:pt x="126" y="1134"/>
                </a:lnTo>
                <a:lnTo>
                  <a:pt x="102" y="1134"/>
                </a:lnTo>
                <a:lnTo>
                  <a:pt x="96" y="1152"/>
                </a:lnTo>
                <a:lnTo>
                  <a:pt x="78" y="1158"/>
                </a:lnTo>
                <a:lnTo>
                  <a:pt x="72" y="1158"/>
                </a:lnTo>
                <a:lnTo>
                  <a:pt x="66" y="1158"/>
                </a:lnTo>
                <a:lnTo>
                  <a:pt x="48" y="1140"/>
                </a:lnTo>
                <a:lnTo>
                  <a:pt x="42" y="1140"/>
                </a:lnTo>
                <a:lnTo>
                  <a:pt x="30" y="1140"/>
                </a:lnTo>
                <a:lnTo>
                  <a:pt x="30" y="1128"/>
                </a:lnTo>
                <a:lnTo>
                  <a:pt x="24" y="1128"/>
                </a:lnTo>
                <a:lnTo>
                  <a:pt x="12" y="1116"/>
                </a:lnTo>
                <a:lnTo>
                  <a:pt x="12" y="1104"/>
                </a:lnTo>
                <a:lnTo>
                  <a:pt x="12" y="1098"/>
                </a:lnTo>
                <a:lnTo>
                  <a:pt x="6" y="1080"/>
                </a:lnTo>
                <a:lnTo>
                  <a:pt x="0" y="1080"/>
                </a:lnTo>
                <a:lnTo>
                  <a:pt x="6" y="1074"/>
                </a:lnTo>
                <a:lnTo>
                  <a:pt x="12" y="1068"/>
                </a:lnTo>
                <a:lnTo>
                  <a:pt x="18" y="1062"/>
                </a:lnTo>
                <a:lnTo>
                  <a:pt x="30" y="1056"/>
                </a:lnTo>
                <a:lnTo>
                  <a:pt x="30" y="1050"/>
                </a:lnTo>
                <a:lnTo>
                  <a:pt x="24" y="1050"/>
                </a:lnTo>
                <a:lnTo>
                  <a:pt x="24" y="1044"/>
                </a:lnTo>
                <a:lnTo>
                  <a:pt x="18" y="1044"/>
                </a:lnTo>
                <a:lnTo>
                  <a:pt x="12" y="1044"/>
                </a:lnTo>
                <a:lnTo>
                  <a:pt x="18" y="1038"/>
                </a:lnTo>
                <a:lnTo>
                  <a:pt x="18" y="1032"/>
                </a:lnTo>
                <a:lnTo>
                  <a:pt x="30" y="1026"/>
                </a:lnTo>
                <a:lnTo>
                  <a:pt x="36" y="1026"/>
                </a:lnTo>
                <a:lnTo>
                  <a:pt x="42" y="1020"/>
                </a:lnTo>
                <a:lnTo>
                  <a:pt x="48" y="1008"/>
                </a:lnTo>
                <a:lnTo>
                  <a:pt x="54" y="1008"/>
                </a:lnTo>
                <a:lnTo>
                  <a:pt x="54" y="996"/>
                </a:lnTo>
                <a:lnTo>
                  <a:pt x="66" y="984"/>
                </a:lnTo>
                <a:lnTo>
                  <a:pt x="72" y="972"/>
                </a:lnTo>
                <a:lnTo>
                  <a:pt x="84" y="966"/>
                </a:lnTo>
                <a:lnTo>
                  <a:pt x="90" y="960"/>
                </a:lnTo>
                <a:lnTo>
                  <a:pt x="90" y="948"/>
                </a:lnTo>
                <a:lnTo>
                  <a:pt x="90" y="936"/>
                </a:lnTo>
                <a:lnTo>
                  <a:pt x="96" y="930"/>
                </a:lnTo>
                <a:lnTo>
                  <a:pt x="84" y="912"/>
                </a:lnTo>
                <a:lnTo>
                  <a:pt x="84" y="906"/>
                </a:lnTo>
                <a:lnTo>
                  <a:pt x="84" y="900"/>
                </a:lnTo>
                <a:lnTo>
                  <a:pt x="96" y="900"/>
                </a:lnTo>
                <a:lnTo>
                  <a:pt x="102" y="900"/>
                </a:lnTo>
                <a:lnTo>
                  <a:pt x="114" y="900"/>
                </a:lnTo>
                <a:lnTo>
                  <a:pt x="120" y="906"/>
                </a:lnTo>
                <a:lnTo>
                  <a:pt x="126" y="900"/>
                </a:lnTo>
                <a:lnTo>
                  <a:pt x="132" y="900"/>
                </a:lnTo>
                <a:lnTo>
                  <a:pt x="138" y="906"/>
                </a:lnTo>
                <a:lnTo>
                  <a:pt x="156" y="900"/>
                </a:lnTo>
                <a:lnTo>
                  <a:pt x="162" y="900"/>
                </a:lnTo>
                <a:lnTo>
                  <a:pt x="168" y="900"/>
                </a:lnTo>
                <a:lnTo>
                  <a:pt x="174" y="894"/>
                </a:lnTo>
                <a:lnTo>
                  <a:pt x="180" y="888"/>
                </a:lnTo>
                <a:lnTo>
                  <a:pt x="174" y="882"/>
                </a:lnTo>
                <a:lnTo>
                  <a:pt x="174" y="876"/>
                </a:lnTo>
                <a:lnTo>
                  <a:pt x="186" y="876"/>
                </a:lnTo>
                <a:lnTo>
                  <a:pt x="192" y="870"/>
                </a:lnTo>
                <a:lnTo>
                  <a:pt x="198" y="864"/>
                </a:lnTo>
                <a:lnTo>
                  <a:pt x="204" y="864"/>
                </a:lnTo>
                <a:lnTo>
                  <a:pt x="210" y="846"/>
                </a:lnTo>
                <a:lnTo>
                  <a:pt x="198" y="840"/>
                </a:lnTo>
                <a:lnTo>
                  <a:pt x="204" y="834"/>
                </a:lnTo>
                <a:lnTo>
                  <a:pt x="210" y="828"/>
                </a:lnTo>
                <a:lnTo>
                  <a:pt x="216" y="828"/>
                </a:lnTo>
                <a:lnTo>
                  <a:pt x="222" y="828"/>
                </a:lnTo>
                <a:lnTo>
                  <a:pt x="228" y="828"/>
                </a:lnTo>
                <a:lnTo>
                  <a:pt x="234" y="828"/>
                </a:lnTo>
                <a:lnTo>
                  <a:pt x="234" y="834"/>
                </a:lnTo>
                <a:lnTo>
                  <a:pt x="240" y="834"/>
                </a:lnTo>
                <a:lnTo>
                  <a:pt x="252" y="840"/>
                </a:lnTo>
                <a:lnTo>
                  <a:pt x="258" y="846"/>
                </a:lnTo>
                <a:lnTo>
                  <a:pt x="270" y="852"/>
                </a:lnTo>
                <a:lnTo>
                  <a:pt x="276" y="858"/>
                </a:lnTo>
                <a:lnTo>
                  <a:pt x="282" y="858"/>
                </a:lnTo>
                <a:lnTo>
                  <a:pt x="288" y="852"/>
                </a:lnTo>
                <a:lnTo>
                  <a:pt x="294" y="852"/>
                </a:lnTo>
                <a:lnTo>
                  <a:pt x="300" y="852"/>
                </a:lnTo>
                <a:lnTo>
                  <a:pt x="312" y="846"/>
                </a:lnTo>
                <a:lnTo>
                  <a:pt x="312" y="840"/>
                </a:lnTo>
                <a:lnTo>
                  <a:pt x="306" y="840"/>
                </a:lnTo>
                <a:lnTo>
                  <a:pt x="306" y="834"/>
                </a:lnTo>
                <a:lnTo>
                  <a:pt x="312" y="828"/>
                </a:lnTo>
                <a:lnTo>
                  <a:pt x="318" y="828"/>
                </a:lnTo>
                <a:lnTo>
                  <a:pt x="330" y="828"/>
                </a:lnTo>
                <a:lnTo>
                  <a:pt x="330" y="822"/>
                </a:lnTo>
                <a:lnTo>
                  <a:pt x="324" y="804"/>
                </a:lnTo>
                <a:lnTo>
                  <a:pt x="330" y="798"/>
                </a:lnTo>
                <a:lnTo>
                  <a:pt x="336" y="792"/>
                </a:lnTo>
                <a:lnTo>
                  <a:pt x="330" y="786"/>
                </a:lnTo>
                <a:lnTo>
                  <a:pt x="336" y="780"/>
                </a:lnTo>
                <a:lnTo>
                  <a:pt x="336" y="774"/>
                </a:lnTo>
                <a:lnTo>
                  <a:pt x="336" y="768"/>
                </a:lnTo>
                <a:lnTo>
                  <a:pt x="342" y="762"/>
                </a:lnTo>
                <a:lnTo>
                  <a:pt x="354" y="756"/>
                </a:lnTo>
                <a:lnTo>
                  <a:pt x="372" y="726"/>
                </a:lnTo>
                <a:lnTo>
                  <a:pt x="372" y="720"/>
                </a:lnTo>
                <a:lnTo>
                  <a:pt x="378" y="714"/>
                </a:lnTo>
                <a:lnTo>
                  <a:pt x="366" y="702"/>
                </a:lnTo>
                <a:lnTo>
                  <a:pt x="384" y="684"/>
                </a:lnTo>
                <a:lnTo>
                  <a:pt x="390" y="672"/>
                </a:lnTo>
                <a:lnTo>
                  <a:pt x="390" y="660"/>
                </a:lnTo>
                <a:lnTo>
                  <a:pt x="402" y="648"/>
                </a:lnTo>
                <a:lnTo>
                  <a:pt x="414" y="630"/>
                </a:lnTo>
                <a:lnTo>
                  <a:pt x="414" y="624"/>
                </a:lnTo>
                <a:lnTo>
                  <a:pt x="408" y="618"/>
                </a:lnTo>
                <a:lnTo>
                  <a:pt x="402" y="606"/>
                </a:lnTo>
                <a:lnTo>
                  <a:pt x="396" y="600"/>
                </a:lnTo>
                <a:lnTo>
                  <a:pt x="408" y="594"/>
                </a:lnTo>
                <a:lnTo>
                  <a:pt x="414" y="582"/>
                </a:lnTo>
                <a:lnTo>
                  <a:pt x="414" y="570"/>
                </a:lnTo>
                <a:lnTo>
                  <a:pt x="414" y="564"/>
                </a:lnTo>
                <a:lnTo>
                  <a:pt x="414" y="552"/>
                </a:lnTo>
                <a:lnTo>
                  <a:pt x="408" y="546"/>
                </a:lnTo>
                <a:lnTo>
                  <a:pt x="408" y="540"/>
                </a:lnTo>
                <a:lnTo>
                  <a:pt x="408" y="528"/>
                </a:lnTo>
                <a:lnTo>
                  <a:pt x="408" y="522"/>
                </a:lnTo>
                <a:lnTo>
                  <a:pt x="414" y="516"/>
                </a:lnTo>
                <a:lnTo>
                  <a:pt x="432" y="498"/>
                </a:lnTo>
                <a:lnTo>
                  <a:pt x="438" y="486"/>
                </a:lnTo>
                <a:lnTo>
                  <a:pt x="444" y="474"/>
                </a:lnTo>
                <a:lnTo>
                  <a:pt x="456" y="462"/>
                </a:lnTo>
                <a:lnTo>
                  <a:pt x="468" y="450"/>
                </a:lnTo>
                <a:lnTo>
                  <a:pt x="474" y="444"/>
                </a:lnTo>
                <a:lnTo>
                  <a:pt x="480" y="432"/>
                </a:lnTo>
                <a:lnTo>
                  <a:pt x="468" y="426"/>
                </a:lnTo>
                <a:lnTo>
                  <a:pt x="462" y="426"/>
                </a:lnTo>
                <a:lnTo>
                  <a:pt x="468" y="426"/>
                </a:lnTo>
                <a:lnTo>
                  <a:pt x="474" y="420"/>
                </a:lnTo>
                <a:lnTo>
                  <a:pt x="486" y="402"/>
                </a:lnTo>
                <a:lnTo>
                  <a:pt x="486" y="396"/>
                </a:lnTo>
                <a:lnTo>
                  <a:pt x="486" y="390"/>
                </a:lnTo>
                <a:lnTo>
                  <a:pt x="486" y="378"/>
                </a:lnTo>
                <a:lnTo>
                  <a:pt x="492" y="378"/>
                </a:lnTo>
                <a:lnTo>
                  <a:pt x="504" y="372"/>
                </a:lnTo>
                <a:lnTo>
                  <a:pt x="504" y="366"/>
                </a:lnTo>
                <a:lnTo>
                  <a:pt x="498" y="354"/>
                </a:lnTo>
                <a:lnTo>
                  <a:pt x="498" y="336"/>
                </a:lnTo>
                <a:lnTo>
                  <a:pt x="498" y="324"/>
                </a:lnTo>
                <a:lnTo>
                  <a:pt x="492" y="318"/>
                </a:lnTo>
                <a:lnTo>
                  <a:pt x="492" y="312"/>
                </a:lnTo>
                <a:lnTo>
                  <a:pt x="486" y="300"/>
                </a:lnTo>
                <a:lnTo>
                  <a:pt x="486" y="294"/>
                </a:lnTo>
                <a:lnTo>
                  <a:pt x="492" y="288"/>
                </a:lnTo>
                <a:lnTo>
                  <a:pt x="498" y="282"/>
                </a:lnTo>
                <a:lnTo>
                  <a:pt x="510" y="276"/>
                </a:lnTo>
                <a:lnTo>
                  <a:pt x="522" y="276"/>
                </a:lnTo>
                <a:lnTo>
                  <a:pt x="522" y="282"/>
                </a:lnTo>
                <a:lnTo>
                  <a:pt x="534" y="282"/>
                </a:lnTo>
                <a:lnTo>
                  <a:pt x="540" y="270"/>
                </a:lnTo>
                <a:lnTo>
                  <a:pt x="540" y="258"/>
                </a:lnTo>
                <a:lnTo>
                  <a:pt x="546" y="258"/>
                </a:lnTo>
                <a:lnTo>
                  <a:pt x="552" y="258"/>
                </a:lnTo>
                <a:lnTo>
                  <a:pt x="564" y="252"/>
                </a:lnTo>
                <a:lnTo>
                  <a:pt x="570" y="258"/>
                </a:lnTo>
                <a:lnTo>
                  <a:pt x="576" y="258"/>
                </a:lnTo>
                <a:lnTo>
                  <a:pt x="588" y="258"/>
                </a:lnTo>
                <a:lnTo>
                  <a:pt x="600" y="258"/>
                </a:lnTo>
                <a:lnTo>
                  <a:pt x="606" y="252"/>
                </a:lnTo>
                <a:lnTo>
                  <a:pt x="612" y="246"/>
                </a:lnTo>
                <a:lnTo>
                  <a:pt x="630" y="240"/>
                </a:lnTo>
                <a:lnTo>
                  <a:pt x="642" y="234"/>
                </a:lnTo>
                <a:lnTo>
                  <a:pt x="642" y="228"/>
                </a:lnTo>
                <a:lnTo>
                  <a:pt x="648" y="228"/>
                </a:lnTo>
                <a:lnTo>
                  <a:pt x="654" y="222"/>
                </a:lnTo>
                <a:lnTo>
                  <a:pt x="666" y="216"/>
                </a:lnTo>
                <a:lnTo>
                  <a:pt x="666" y="210"/>
                </a:lnTo>
                <a:lnTo>
                  <a:pt x="672" y="210"/>
                </a:lnTo>
                <a:lnTo>
                  <a:pt x="678" y="204"/>
                </a:lnTo>
                <a:lnTo>
                  <a:pt x="690" y="204"/>
                </a:lnTo>
                <a:lnTo>
                  <a:pt x="696" y="198"/>
                </a:lnTo>
                <a:lnTo>
                  <a:pt x="708" y="198"/>
                </a:lnTo>
                <a:lnTo>
                  <a:pt x="720" y="192"/>
                </a:lnTo>
                <a:lnTo>
                  <a:pt x="726" y="186"/>
                </a:lnTo>
                <a:lnTo>
                  <a:pt x="744" y="174"/>
                </a:lnTo>
                <a:lnTo>
                  <a:pt x="750" y="174"/>
                </a:lnTo>
                <a:lnTo>
                  <a:pt x="762" y="168"/>
                </a:lnTo>
                <a:lnTo>
                  <a:pt x="768" y="174"/>
                </a:lnTo>
                <a:lnTo>
                  <a:pt x="774" y="174"/>
                </a:lnTo>
                <a:lnTo>
                  <a:pt x="780" y="174"/>
                </a:lnTo>
                <a:lnTo>
                  <a:pt x="780" y="168"/>
                </a:lnTo>
                <a:lnTo>
                  <a:pt x="792" y="162"/>
                </a:lnTo>
                <a:lnTo>
                  <a:pt x="798" y="162"/>
                </a:lnTo>
                <a:lnTo>
                  <a:pt x="816" y="162"/>
                </a:lnTo>
                <a:lnTo>
                  <a:pt x="828" y="156"/>
                </a:lnTo>
                <a:lnTo>
                  <a:pt x="840" y="150"/>
                </a:lnTo>
                <a:lnTo>
                  <a:pt x="852" y="144"/>
                </a:lnTo>
                <a:lnTo>
                  <a:pt x="864" y="144"/>
                </a:lnTo>
                <a:lnTo>
                  <a:pt x="870" y="138"/>
                </a:lnTo>
                <a:lnTo>
                  <a:pt x="882" y="132"/>
                </a:lnTo>
                <a:lnTo>
                  <a:pt x="888" y="132"/>
                </a:lnTo>
                <a:lnTo>
                  <a:pt x="894" y="132"/>
                </a:lnTo>
                <a:lnTo>
                  <a:pt x="894" y="126"/>
                </a:lnTo>
                <a:lnTo>
                  <a:pt x="900" y="120"/>
                </a:lnTo>
                <a:lnTo>
                  <a:pt x="912" y="120"/>
                </a:lnTo>
                <a:lnTo>
                  <a:pt x="912" y="126"/>
                </a:lnTo>
                <a:lnTo>
                  <a:pt x="906" y="132"/>
                </a:lnTo>
                <a:lnTo>
                  <a:pt x="912" y="132"/>
                </a:lnTo>
                <a:lnTo>
                  <a:pt x="918" y="126"/>
                </a:lnTo>
                <a:lnTo>
                  <a:pt x="924" y="126"/>
                </a:lnTo>
                <a:lnTo>
                  <a:pt x="924" y="132"/>
                </a:lnTo>
                <a:lnTo>
                  <a:pt x="924" y="138"/>
                </a:lnTo>
                <a:lnTo>
                  <a:pt x="924" y="150"/>
                </a:lnTo>
                <a:lnTo>
                  <a:pt x="930" y="150"/>
                </a:lnTo>
                <a:lnTo>
                  <a:pt x="942" y="150"/>
                </a:lnTo>
                <a:lnTo>
                  <a:pt x="942" y="156"/>
                </a:lnTo>
                <a:lnTo>
                  <a:pt x="948" y="156"/>
                </a:lnTo>
                <a:lnTo>
                  <a:pt x="948" y="162"/>
                </a:lnTo>
                <a:lnTo>
                  <a:pt x="960" y="174"/>
                </a:lnTo>
                <a:lnTo>
                  <a:pt x="966" y="168"/>
                </a:lnTo>
                <a:lnTo>
                  <a:pt x="972" y="174"/>
                </a:lnTo>
                <a:lnTo>
                  <a:pt x="978" y="168"/>
                </a:lnTo>
                <a:lnTo>
                  <a:pt x="990" y="162"/>
                </a:lnTo>
                <a:lnTo>
                  <a:pt x="996" y="162"/>
                </a:lnTo>
                <a:lnTo>
                  <a:pt x="1008" y="156"/>
                </a:lnTo>
                <a:lnTo>
                  <a:pt x="1014" y="150"/>
                </a:lnTo>
                <a:lnTo>
                  <a:pt x="1020" y="150"/>
                </a:lnTo>
                <a:lnTo>
                  <a:pt x="1032" y="156"/>
                </a:lnTo>
                <a:lnTo>
                  <a:pt x="1038" y="156"/>
                </a:lnTo>
                <a:lnTo>
                  <a:pt x="1044" y="168"/>
                </a:lnTo>
                <a:lnTo>
                  <a:pt x="1050" y="180"/>
                </a:lnTo>
                <a:lnTo>
                  <a:pt x="1050" y="186"/>
                </a:lnTo>
                <a:lnTo>
                  <a:pt x="1056" y="180"/>
                </a:lnTo>
                <a:lnTo>
                  <a:pt x="1056" y="192"/>
                </a:lnTo>
                <a:lnTo>
                  <a:pt x="1056" y="198"/>
                </a:lnTo>
                <a:lnTo>
                  <a:pt x="1062" y="192"/>
                </a:lnTo>
                <a:lnTo>
                  <a:pt x="1068" y="186"/>
                </a:lnTo>
                <a:lnTo>
                  <a:pt x="1074" y="192"/>
                </a:lnTo>
                <a:lnTo>
                  <a:pt x="1080" y="192"/>
                </a:lnTo>
                <a:lnTo>
                  <a:pt x="1080" y="198"/>
                </a:lnTo>
                <a:lnTo>
                  <a:pt x="1086" y="216"/>
                </a:lnTo>
                <a:lnTo>
                  <a:pt x="1092" y="216"/>
                </a:lnTo>
                <a:lnTo>
                  <a:pt x="1098" y="216"/>
                </a:lnTo>
                <a:lnTo>
                  <a:pt x="1104" y="210"/>
                </a:lnTo>
                <a:lnTo>
                  <a:pt x="1116" y="216"/>
                </a:lnTo>
                <a:lnTo>
                  <a:pt x="1122" y="210"/>
                </a:lnTo>
                <a:lnTo>
                  <a:pt x="1122" y="204"/>
                </a:lnTo>
                <a:lnTo>
                  <a:pt x="1134" y="198"/>
                </a:lnTo>
                <a:lnTo>
                  <a:pt x="1140" y="198"/>
                </a:lnTo>
                <a:lnTo>
                  <a:pt x="1146" y="192"/>
                </a:lnTo>
                <a:lnTo>
                  <a:pt x="1152" y="186"/>
                </a:lnTo>
                <a:lnTo>
                  <a:pt x="1164" y="186"/>
                </a:lnTo>
                <a:lnTo>
                  <a:pt x="1176" y="186"/>
                </a:lnTo>
                <a:lnTo>
                  <a:pt x="1176" y="192"/>
                </a:lnTo>
                <a:lnTo>
                  <a:pt x="1188" y="192"/>
                </a:lnTo>
                <a:lnTo>
                  <a:pt x="1200" y="192"/>
                </a:lnTo>
                <a:lnTo>
                  <a:pt x="1206" y="192"/>
                </a:lnTo>
                <a:lnTo>
                  <a:pt x="1212" y="192"/>
                </a:lnTo>
                <a:lnTo>
                  <a:pt x="1218" y="186"/>
                </a:lnTo>
                <a:lnTo>
                  <a:pt x="1230" y="192"/>
                </a:lnTo>
                <a:lnTo>
                  <a:pt x="1248" y="192"/>
                </a:lnTo>
                <a:lnTo>
                  <a:pt x="1260" y="198"/>
                </a:lnTo>
                <a:lnTo>
                  <a:pt x="1266" y="204"/>
                </a:lnTo>
                <a:lnTo>
                  <a:pt x="1272" y="204"/>
                </a:lnTo>
                <a:lnTo>
                  <a:pt x="1272" y="216"/>
                </a:lnTo>
                <a:lnTo>
                  <a:pt x="1272" y="234"/>
                </a:lnTo>
                <a:lnTo>
                  <a:pt x="1284" y="240"/>
                </a:lnTo>
                <a:lnTo>
                  <a:pt x="1290" y="240"/>
                </a:lnTo>
                <a:lnTo>
                  <a:pt x="1296" y="240"/>
                </a:lnTo>
                <a:lnTo>
                  <a:pt x="1302" y="240"/>
                </a:lnTo>
                <a:lnTo>
                  <a:pt x="1314" y="240"/>
                </a:lnTo>
                <a:lnTo>
                  <a:pt x="1314" y="234"/>
                </a:lnTo>
                <a:lnTo>
                  <a:pt x="1320" y="234"/>
                </a:lnTo>
                <a:lnTo>
                  <a:pt x="1326" y="228"/>
                </a:lnTo>
                <a:lnTo>
                  <a:pt x="1326" y="216"/>
                </a:lnTo>
                <a:lnTo>
                  <a:pt x="1326" y="210"/>
                </a:lnTo>
                <a:lnTo>
                  <a:pt x="1326" y="204"/>
                </a:lnTo>
                <a:lnTo>
                  <a:pt x="1332" y="198"/>
                </a:lnTo>
                <a:lnTo>
                  <a:pt x="1338" y="186"/>
                </a:lnTo>
                <a:lnTo>
                  <a:pt x="1344" y="186"/>
                </a:lnTo>
                <a:lnTo>
                  <a:pt x="1344" y="180"/>
                </a:lnTo>
                <a:lnTo>
                  <a:pt x="1350" y="174"/>
                </a:lnTo>
                <a:lnTo>
                  <a:pt x="1356" y="174"/>
                </a:lnTo>
                <a:lnTo>
                  <a:pt x="1362" y="174"/>
                </a:lnTo>
                <a:lnTo>
                  <a:pt x="1368" y="174"/>
                </a:lnTo>
                <a:lnTo>
                  <a:pt x="1374" y="174"/>
                </a:lnTo>
                <a:lnTo>
                  <a:pt x="1380" y="168"/>
                </a:lnTo>
                <a:lnTo>
                  <a:pt x="1386" y="162"/>
                </a:lnTo>
                <a:lnTo>
                  <a:pt x="1392" y="162"/>
                </a:lnTo>
                <a:lnTo>
                  <a:pt x="1398" y="156"/>
                </a:lnTo>
                <a:lnTo>
                  <a:pt x="1404" y="156"/>
                </a:lnTo>
                <a:lnTo>
                  <a:pt x="1410" y="150"/>
                </a:lnTo>
                <a:lnTo>
                  <a:pt x="1422" y="144"/>
                </a:lnTo>
                <a:lnTo>
                  <a:pt x="1428" y="138"/>
                </a:lnTo>
                <a:lnTo>
                  <a:pt x="1434" y="138"/>
                </a:lnTo>
                <a:lnTo>
                  <a:pt x="1440" y="138"/>
                </a:lnTo>
                <a:lnTo>
                  <a:pt x="1440" y="126"/>
                </a:lnTo>
                <a:lnTo>
                  <a:pt x="1446" y="126"/>
                </a:lnTo>
                <a:lnTo>
                  <a:pt x="1458" y="132"/>
                </a:lnTo>
                <a:lnTo>
                  <a:pt x="1458" y="138"/>
                </a:lnTo>
                <a:lnTo>
                  <a:pt x="1464" y="138"/>
                </a:lnTo>
                <a:lnTo>
                  <a:pt x="1470" y="138"/>
                </a:lnTo>
                <a:lnTo>
                  <a:pt x="1476" y="144"/>
                </a:lnTo>
                <a:lnTo>
                  <a:pt x="1482" y="144"/>
                </a:lnTo>
                <a:lnTo>
                  <a:pt x="1488" y="144"/>
                </a:lnTo>
                <a:lnTo>
                  <a:pt x="1506" y="144"/>
                </a:lnTo>
                <a:lnTo>
                  <a:pt x="1512" y="144"/>
                </a:lnTo>
                <a:lnTo>
                  <a:pt x="1530" y="144"/>
                </a:lnTo>
                <a:lnTo>
                  <a:pt x="1530" y="138"/>
                </a:lnTo>
                <a:lnTo>
                  <a:pt x="1536" y="132"/>
                </a:lnTo>
                <a:lnTo>
                  <a:pt x="1542" y="126"/>
                </a:lnTo>
                <a:lnTo>
                  <a:pt x="1542" y="120"/>
                </a:lnTo>
                <a:lnTo>
                  <a:pt x="1536" y="114"/>
                </a:lnTo>
                <a:lnTo>
                  <a:pt x="1542" y="108"/>
                </a:lnTo>
                <a:lnTo>
                  <a:pt x="1542" y="102"/>
                </a:lnTo>
                <a:lnTo>
                  <a:pt x="1542" y="96"/>
                </a:lnTo>
                <a:lnTo>
                  <a:pt x="1536" y="90"/>
                </a:lnTo>
                <a:lnTo>
                  <a:pt x="1536" y="84"/>
                </a:lnTo>
                <a:lnTo>
                  <a:pt x="1548" y="84"/>
                </a:lnTo>
                <a:lnTo>
                  <a:pt x="1548" y="78"/>
                </a:lnTo>
                <a:lnTo>
                  <a:pt x="1542" y="78"/>
                </a:lnTo>
                <a:lnTo>
                  <a:pt x="1536" y="78"/>
                </a:lnTo>
                <a:lnTo>
                  <a:pt x="1536" y="72"/>
                </a:lnTo>
                <a:lnTo>
                  <a:pt x="1542" y="66"/>
                </a:lnTo>
                <a:lnTo>
                  <a:pt x="1542" y="60"/>
                </a:lnTo>
                <a:lnTo>
                  <a:pt x="1548" y="66"/>
                </a:lnTo>
                <a:lnTo>
                  <a:pt x="1566" y="66"/>
                </a:lnTo>
                <a:lnTo>
                  <a:pt x="1572" y="66"/>
                </a:lnTo>
                <a:lnTo>
                  <a:pt x="1590" y="60"/>
                </a:lnTo>
                <a:lnTo>
                  <a:pt x="1596" y="60"/>
                </a:lnTo>
                <a:lnTo>
                  <a:pt x="1602" y="60"/>
                </a:lnTo>
                <a:lnTo>
                  <a:pt x="1608" y="60"/>
                </a:lnTo>
                <a:lnTo>
                  <a:pt x="1620" y="60"/>
                </a:lnTo>
                <a:lnTo>
                  <a:pt x="1626" y="60"/>
                </a:lnTo>
                <a:lnTo>
                  <a:pt x="1632" y="54"/>
                </a:lnTo>
                <a:lnTo>
                  <a:pt x="1644" y="42"/>
                </a:lnTo>
                <a:lnTo>
                  <a:pt x="1650" y="48"/>
                </a:lnTo>
                <a:lnTo>
                  <a:pt x="1656" y="48"/>
                </a:lnTo>
                <a:lnTo>
                  <a:pt x="1662" y="48"/>
                </a:lnTo>
                <a:lnTo>
                  <a:pt x="1668" y="48"/>
                </a:lnTo>
                <a:lnTo>
                  <a:pt x="1674" y="42"/>
                </a:lnTo>
                <a:lnTo>
                  <a:pt x="1674" y="36"/>
                </a:lnTo>
                <a:lnTo>
                  <a:pt x="1668" y="18"/>
                </a:lnTo>
                <a:lnTo>
                  <a:pt x="1674" y="12"/>
                </a:lnTo>
                <a:lnTo>
                  <a:pt x="1674" y="6"/>
                </a:lnTo>
                <a:lnTo>
                  <a:pt x="1680" y="6"/>
                </a:lnTo>
                <a:lnTo>
                  <a:pt x="1686" y="0"/>
                </a:lnTo>
                <a:lnTo>
                  <a:pt x="1698" y="0"/>
                </a:lnTo>
                <a:lnTo>
                  <a:pt x="1704" y="6"/>
                </a:lnTo>
                <a:lnTo>
                  <a:pt x="1710" y="12"/>
                </a:lnTo>
                <a:lnTo>
                  <a:pt x="1716" y="6"/>
                </a:lnTo>
                <a:lnTo>
                  <a:pt x="1722" y="12"/>
                </a:lnTo>
                <a:lnTo>
                  <a:pt x="1728" y="12"/>
                </a:lnTo>
                <a:lnTo>
                  <a:pt x="1728" y="18"/>
                </a:lnTo>
                <a:lnTo>
                  <a:pt x="1740" y="30"/>
                </a:lnTo>
                <a:lnTo>
                  <a:pt x="1746" y="30"/>
                </a:lnTo>
                <a:lnTo>
                  <a:pt x="1752" y="30"/>
                </a:lnTo>
                <a:lnTo>
                  <a:pt x="1758" y="36"/>
                </a:lnTo>
                <a:lnTo>
                  <a:pt x="1764" y="36"/>
                </a:lnTo>
                <a:lnTo>
                  <a:pt x="1770" y="36"/>
                </a:lnTo>
                <a:lnTo>
                  <a:pt x="1776" y="36"/>
                </a:lnTo>
                <a:lnTo>
                  <a:pt x="1782" y="42"/>
                </a:lnTo>
                <a:lnTo>
                  <a:pt x="1788" y="42"/>
                </a:lnTo>
                <a:lnTo>
                  <a:pt x="1788" y="48"/>
                </a:lnTo>
                <a:lnTo>
                  <a:pt x="1800" y="48"/>
                </a:lnTo>
                <a:lnTo>
                  <a:pt x="1806" y="54"/>
                </a:lnTo>
                <a:lnTo>
                  <a:pt x="1806" y="60"/>
                </a:lnTo>
                <a:lnTo>
                  <a:pt x="1812" y="72"/>
                </a:lnTo>
                <a:lnTo>
                  <a:pt x="1812" y="78"/>
                </a:lnTo>
                <a:lnTo>
                  <a:pt x="1818" y="90"/>
                </a:lnTo>
                <a:lnTo>
                  <a:pt x="1818" y="96"/>
                </a:lnTo>
                <a:lnTo>
                  <a:pt x="1824" y="102"/>
                </a:lnTo>
                <a:lnTo>
                  <a:pt x="1836" y="114"/>
                </a:lnTo>
                <a:lnTo>
                  <a:pt x="1842" y="120"/>
                </a:lnTo>
                <a:lnTo>
                  <a:pt x="1848" y="120"/>
                </a:lnTo>
                <a:lnTo>
                  <a:pt x="1854" y="120"/>
                </a:lnTo>
                <a:lnTo>
                  <a:pt x="1866" y="120"/>
                </a:lnTo>
                <a:lnTo>
                  <a:pt x="1884" y="120"/>
                </a:lnTo>
                <a:lnTo>
                  <a:pt x="1890" y="126"/>
                </a:lnTo>
                <a:lnTo>
                  <a:pt x="1902" y="120"/>
                </a:lnTo>
                <a:lnTo>
                  <a:pt x="1902" y="114"/>
                </a:lnTo>
                <a:lnTo>
                  <a:pt x="1908" y="108"/>
                </a:lnTo>
                <a:lnTo>
                  <a:pt x="1914" y="108"/>
                </a:lnTo>
                <a:lnTo>
                  <a:pt x="1926" y="108"/>
                </a:lnTo>
                <a:lnTo>
                  <a:pt x="1938" y="114"/>
                </a:lnTo>
                <a:lnTo>
                  <a:pt x="1944" y="120"/>
                </a:lnTo>
                <a:lnTo>
                  <a:pt x="1950" y="132"/>
                </a:lnTo>
                <a:lnTo>
                  <a:pt x="1956" y="150"/>
                </a:lnTo>
                <a:lnTo>
                  <a:pt x="1956" y="168"/>
                </a:lnTo>
                <a:lnTo>
                  <a:pt x="1962" y="180"/>
                </a:lnTo>
                <a:lnTo>
                  <a:pt x="1962" y="186"/>
                </a:lnTo>
                <a:lnTo>
                  <a:pt x="1968" y="192"/>
                </a:lnTo>
                <a:lnTo>
                  <a:pt x="1968" y="198"/>
                </a:lnTo>
                <a:lnTo>
                  <a:pt x="1974" y="204"/>
                </a:lnTo>
                <a:lnTo>
                  <a:pt x="1980" y="216"/>
                </a:lnTo>
                <a:lnTo>
                  <a:pt x="1992" y="228"/>
                </a:lnTo>
                <a:lnTo>
                  <a:pt x="2004" y="228"/>
                </a:lnTo>
                <a:lnTo>
                  <a:pt x="2010" y="234"/>
                </a:lnTo>
                <a:lnTo>
                  <a:pt x="2010" y="246"/>
                </a:lnTo>
                <a:lnTo>
                  <a:pt x="2010" y="252"/>
                </a:lnTo>
                <a:lnTo>
                  <a:pt x="2010" y="258"/>
                </a:lnTo>
                <a:lnTo>
                  <a:pt x="2022" y="264"/>
                </a:lnTo>
                <a:lnTo>
                  <a:pt x="2028" y="276"/>
                </a:lnTo>
                <a:lnTo>
                  <a:pt x="2034" y="282"/>
                </a:lnTo>
                <a:lnTo>
                  <a:pt x="2040" y="294"/>
                </a:lnTo>
                <a:lnTo>
                  <a:pt x="2040" y="312"/>
                </a:lnTo>
                <a:lnTo>
                  <a:pt x="2040" y="318"/>
                </a:lnTo>
                <a:lnTo>
                  <a:pt x="2052" y="324"/>
                </a:lnTo>
                <a:lnTo>
                  <a:pt x="2058" y="324"/>
                </a:lnTo>
                <a:lnTo>
                  <a:pt x="2064" y="324"/>
                </a:lnTo>
                <a:lnTo>
                  <a:pt x="2070" y="324"/>
                </a:lnTo>
                <a:lnTo>
                  <a:pt x="2076" y="336"/>
                </a:lnTo>
                <a:lnTo>
                  <a:pt x="2088" y="336"/>
                </a:lnTo>
                <a:lnTo>
                  <a:pt x="2094" y="342"/>
                </a:lnTo>
                <a:lnTo>
                  <a:pt x="2100" y="354"/>
                </a:lnTo>
                <a:lnTo>
                  <a:pt x="2100" y="360"/>
                </a:lnTo>
                <a:lnTo>
                  <a:pt x="2106" y="366"/>
                </a:lnTo>
                <a:lnTo>
                  <a:pt x="2112" y="366"/>
                </a:lnTo>
                <a:lnTo>
                  <a:pt x="2118" y="372"/>
                </a:lnTo>
                <a:lnTo>
                  <a:pt x="2112" y="384"/>
                </a:lnTo>
                <a:lnTo>
                  <a:pt x="2124" y="390"/>
                </a:lnTo>
                <a:lnTo>
                  <a:pt x="2130" y="396"/>
                </a:lnTo>
                <a:lnTo>
                  <a:pt x="2142" y="396"/>
                </a:lnTo>
                <a:lnTo>
                  <a:pt x="2154" y="390"/>
                </a:lnTo>
                <a:lnTo>
                  <a:pt x="2160" y="396"/>
                </a:lnTo>
                <a:lnTo>
                  <a:pt x="2172" y="396"/>
                </a:lnTo>
                <a:lnTo>
                  <a:pt x="2184" y="402"/>
                </a:lnTo>
                <a:lnTo>
                  <a:pt x="2190" y="402"/>
                </a:lnTo>
                <a:lnTo>
                  <a:pt x="2196" y="408"/>
                </a:lnTo>
                <a:lnTo>
                  <a:pt x="2202" y="402"/>
                </a:lnTo>
                <a:lnTo>
                  <a:pt x="2208" y="402"/>
                </a:lnTo>
                <a:lnTo>
                  <a:pt x="2214" y="402"/>
                </a:lnTo>
                <a:lnTo>
                  <a:pt x="2220" y="402"/>
                </a:lnTo>
                <a:lnTo>
                  <a:pt x="2226" y="396"/>
                </a:lnTo>
                <a:lnTo>
                  <a:pt x="2238" y="396"/>
                </a:lnTo>
                <a:lnTo>
                  <a:pt x="2244" y="402"/>
                </a:lnTo>
                <a:lnTo>
                  <a:pt x="2250" y="396"/>
                </a:lnTo>
                <a:lnTo>
                  <a:pt x="2256" y="402"/>
                </a:lnTo>
                <a:lnTo>
                  <a:pt x="2262" y="402"/>
                </a:lnTo>
                <a:lnTo>
                  <a:pt x="2262" y="408"/>
                </a:lnTo>
                <a:lnTo>
                  <a:pt x="2268" y="408"/>
                </a:lnTo>
                <a:lnTo>
                  <a:pt x="2280" y="402"/>
                </a:lnTo>
                <a:lnTo>
                  <a:pt x="2280" y="396"/>
                </a:lnTo>
                <a:lnTo>
                  <a:pt x="2280" y="390"/>
                </a:lnTo>
                <a:lnTo>
                  <a:pt x="2280" y="384"/>
                </a:lnTo>
                <a:lnTo>
                  <a:pt x="2280" y="372"/>
                </a:lnTo>
                <a:lnTo>
                  <a:pt x="2280" y="366"/>
                </a:lnTo>
                <a:lnTo>
                  <a:pt x="2274" y="354"/>
                </a:lnTo>
                <a:lnTo>
                  <a:pt x="2274" y="348"/>
                </a:lnTo>
                <a:lnTo>
                  <a:pt x="2292" y="336"/>
                </a:lnTo>
                <a:lnTo>
                  <a:pt x="2298" y="336"/>
                </a:lnTo>
                <a:lnTo>
                  <a:pt x="2304" y="336"/>
                </a:lnTo>
                <a:lnTo>
                  <a:pt x="2304" y="342"/>
                </a:lnTo>
                <a:lnTo>
                  <a:pt x="2304" y="354"/>
                </a:lnTo>
                <a:lnTo>
                  <a:pt x="2310" y="354"/>
                </a:lnTo>
                <a:lnTo>
                  <a:pt x="2310" y="348"/>
                </a:lnTo>
                <a:lnTo>
                  <a:pt x="2316" y="348"/>
                </a:lnTo>
                <a:lnTo>
                  <a:pt x="2322" y="354"/>
                </a:lnTo>
                <a:lnTo>
                  <a:pt x="2328" y="354"/>
                </a:lnTo>
                <a:lnTo>
                  <a:pt x="2328" y="342"/>
                </a:lnTo>
                <a:lnTo>
                  <a:pt x="2334" y="342"/>
                </a:lnTo>
                <a:lnTo>
                  <a:pt x="2340" y="348"/>
                </a:lnTo>
                <a:lnTo>
                  <a:pt x="2346" y="342"/>
                </a:lnTo>
                <a:lnTo>
                  <a:pt x="2340" y="336"/>
                </a:lnTo>
                <a:lnTo>
                  <a:pt x="2340" y="330"/>
                </a:lnTo>
                <a:lnTo>
                  <a:pt x="2340" y="324"/>
                </a:lnTo>
                <a:lnTo>
                  <a:pt x="2346" y="318"/>
                </a:lnTo>
                <a:lnTo>
                  <a:pt x="2346" y="324"/>
                </a:lnTo>
                <a:lnTo>
                  <a:pt x="2346" y="330"/>
                </a:lnTo>
                <a:lnTo>
                  <a:pt x="2346" y="336"/>
                </a:lnTo>
                <a:lnTo>
                  <a:pt x="2352" y="336"/>
                </a:lnTo>
                <a:lnTo>
                  <a:pt x="2358" y="330"/>
                </a:lnTo>
                <a:lnTo>
                  <a:pt x="2352" y="324"/>
                </a:lnTo>
                <a:lnTo>
                  <a:pt x="2352" y="318"/>
                </a:lnTo>
                <a:lnTo>
                  <a:pt x="2358" y="318"/>
                </a:lnTo>
                <a:lnTo>
                  <a:pt x="2364" y="318"/>
                </a:lnTo>
                <a:lnTo>
                  <a:pt x="2358" y="324"/>
                </a:lnTo>
                <a:lnTo>
                  <a:pt x="2358" y="330"/>
                </a:lnTo>
                <a:lnTo>
                  <a:pt x="2370" y="324"/>
                </a:lnTo>
                <a:lnTo>
                  <a:pt x="2376" y="318"/>
                </a:lnTo>
                <a:lnTo>
                  <a:pt x="2376" y="324"/>
                </a:lnTo>
                <a:lnTo>
                  <a:pt x="2382" y="324"/>
                </a:lnTo>
                <a:lnTo>
                  <a:pt x="2388" y="324"/>
                </a:lnTo>
                <a:lnTo>
                  <a:pt x="2394" y="324"/>
                </a:lnTo>
                <a:lnTo>
                  <a:pt x="2400" y="324"/>
                </a:lnTo>
                <a:lnTo>
                  <a:pt x="2400" y="318"/>
                </a:lnTo>
                <a:lnTo>
                  <a:pt x="2394" y="318"/>
                </a:lnTo>
                <a:lnTo>
                  <a:pt x="2388" y="312"/>
                </a:lnTo>
                <a:lnTo>
                  <a:pt x="2400" y="306"/>
                </a:lnTo>
                <a:lnTo>
                  <a:pt x="2406" y="306"/>
                </a:lnTo>
                <a:lnTo>
                  <a:pt x="2412" y="300"/>
                </a:lnTo>
                <a:lnTo>
                  <a:pt x="2418" y="300"/>
                </a:lnTo>
                <a:lnTo>
                  <a:pt x="2418" y="294"/>
                </a:lnTo>
                <a:lnTo>
                  <a:pt x="2424" y="288"/>
                </a:lnTo>
                <a:lnTo>
                  <a:pt x="2430" y="288"/>
                </a:lnTo>
                <a:lnTo>
                  <a:pt x="2436" y="282"/>
                </a:lnTo>
                <a:lnTo>
                  <a:pt x="2442" y="282"/>
                </a:lnTo>
                <a:lnTo>
                  <a:pt x="2448" y="282"/>
                </a:lnTo>
                <a:lnTo>
                  <a:pt x="2454" y="282"/>
                </a:lnTo>
                <a:lnTo>
                  <a:pt x="2460" y="282"/>
                </a:lnTo>
                <a:lnTo>
                  <a:pt x="2466" y="288"/>
                </a:lnTo>
                <a:lnTo>
                  <a:pt x="2472" y="282"/>
                </a:lnTo>
                <a:lnTo>
                  <a:pt x="2478" y="282"/>
                </a:lnTo>
                <a:lnTo>
                  <a:pt x="2478" y="276"/>
                </a:lnTo>
                <a:lnTo>
                  <a:pt x="2484" y="276"/>
                </a:lnTo>
                <a:lnTo>
                  <a:pt x="2496" y="264"/>
                </a:lnTo>
                <a:lnTo>
                  <a:pt x="2508" y="258"/>
                </a:lnTo>
                <a:lnTo>
                  <a:pt x="2508" y="252"/>
                </a:lnTo>
                <a:lnTo>
                  <a:pt x="2514" y="252"/>
                </a:lnTo>
                <a:lnTo>
                  <a:pt x="2520" y="252"/>
                </a:lnTo>
                <a:lnTo>
                  <a:pt x="2526" y="258"/>
                </a:lnTo>
                <a:lnTo>
                  <a:pt x="2532" y="258"/>
                </a:lnTo>
                <a:lnTo>
                  <a:pt x="2538" y="264"/>
                </a:lnTo>
                <a:lnTo>
                  <a:pt x="2550" y="270"/>
                </a:lnTo>
                <a:lnTo>
                  <a:pt x="2556" y="270"/>
                </a:lnTo>
                <a:lnTo>
                  <a:pt x="2556" y="264"/>
                </a:lnTo>
                <a:lnTo>
                  <a:pt x="2562" y="264"/>
                </a:lnTo>
                <a:lnTo>
                  <a:pt x="2562" y="258"/>
                </a:lnTo>
                <a:lnTo>
                  <a:pt x="2574" y="258"/>
                </a:lnTo>
                <a:lnTo>
                  <a:pt x="2574" y="252"/>
                </a:lnTo>
                <a:lnTo>
                  <a:pt x="2580" y="246"/>
                </a:lnTo>
                <a:lnTo>
                  <a:pt x="2586" y="252"/>
                </a:lnTo>
                <a:lnTo>
                  <a:pt x="2592" y="258"/>
                </a:lnTo>
                <a:lnTo>
                  <a:pt x="2598" y="270"/>
                </a:lnTo>
                <a:lnTo>
                  <a:pt x="2604" y="270"/>
                </a:lnTo>
                <a:lnTo>
                  <a:pt x="2604" y="264"/>
                </a:lnTo>
                <a:lnTo>
                  <a:pt x="2610" y="258"/>
                </a:lnTo>
                <a:lnTo>
                  <a:pt x="2616" y="258"/>
                </a:lnTo>
                <a:lnTo>
                  <a:pt x="2628" y="252"/>
                </a:lnTo>
                <a:lnTo>
                  <a:pt x="2634" y="252"/>
                </a:lnTo>
                <a:lnTo>
                  <a:pt x="2640" y="252"/>
                </a:lnTo>
                <a:lnTo>
                  <a:pt x="2646" y="252"/>
                </a:lnTo>
                <a:lnTo>
                  <a:pt x="2646" y="246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65" name="Freeform 9"/>
          <p:cNvSpPr>
            <a:spLocks/>
          </p:cNvSpPr>
          <p:nvPr/>
        </p:nvSpPr>
        <p:spPr bwMode="gray">
          <a:xfrm>
            <a:off x="3473450" y="1790700"/>
            <a:ext cx="1462088" cy="1104900"/>
          </a:xfrm>
          <a:custGeom>
            <a:avLst/>
            <a:gdLst>
              <a:gd name="T0" fmla="*/ 108812 w 1518"/>
              <a:gd name="T1" fmla="*/ 9815 h 1146"/>
              <a:gd name="T2" fmla="*/ 107176 w 1518"/>
              <a:gd name="T3" fmla="*/ 13905 h 1146"/>
              <a:gd name="T4" fmla="*/ 102267 w 1518"/>
              <a:gd name="T5" fmla="*/ 17994 h 1146"/>
              <a:gd name="T6" fmla="*/ 102267 w 1518"/>
              <a:gd name="T7" fmla="*/ 22084 h 1146"/>
              <a:gd name="T8" fmla="*/ 104721 w 1518"/>
              <a:gd name="T9" fmla="*/ 28627 h 1146"/>
              <a:gd name="T10" fmla="*/ 104721 w 1518"/>
              <a:gd name="T11" fmla="*/ 31899 h 1146"/>
              <a:gd name="T12" fmla="*/ 102267 w 1518"/>
              <a:gd name="T13" fmla="*/ 40896 h 1146"/>
              <a:gd name="T14" fmla="*/ 98994 w 1518"/>
              <a:gd name="T15" fmla="*/ 44985 h 1146"/>
              <a:gd name="T16" fmla="*/ 89995 w 1518"/>
              <a:gd name="T17" fmla="*/ 45803 h 1146"/>
              <a:gd name="T18" fmla="*/ 92449 w 1518"/>
              <a:gd name="T19" fmla="*/ 50711 h 1146"/>
              <a:gd name="T20" fmla="*/ 86722 w 1518"/>
              <a:gd name="T21" fmla="*/ 50711 h 1146"/>
              <a:gd name="T22" fmla="*/ 85904 w 1518"/>
              <a:gd name="T23" fmla="*/ 52346 h 1146"/>
              <a:gd name="T24" fmla="*/ 80995 w 1518"/>
              <a:gd name="T25" fmla="*/ 59708 h 1146"/>
              <a:gd name="T26" fmla="*/ 77723 w 1518"/>
              <a:gd name="T27" fmla="*/ 63797 h 1146"/>
              <a:gd name="T28" fmla="*/ 74450 w 1518"/>
              <a:gd name="T29" fmla="*/ 63797 h 1146"/>
              <a:gd name="T30" fmla="*/ 76086 w 1518"/>
              <a:gd name="T31" fmla="*/ 68705 h 1146"/>
              <a:gd name="T32" fmla="*/ 67087 w 1518"/>
              <a:gd name="T33" fmla="*/ 73612 h 1146"/>
              <a:gd name="T34" fmla="*/ 62178 w 1518"/>
              <a:gd name="T35" fmla="*/ 78520 h 1146"/>
              <a:gd name="T36" fmla="*/ 62996 w 1518"/>
              <a:gd name="T37" fmla="*/ 82609 h 1146"/>
              <a:gd name="T38" fmla="*/ 57269 w 1518"/>
              <a:gd name="T39" fmla="*/ 73612 h 1146"/>
              <a:gd name="T40" fmla="*/ 54815 w 1518"/>
              <a:gd name="T41" fmla="*/ 70340 h 1146"/>
              <a:gd name="T42" fmla="*/ 49088 w 1518"/>
              <a:gd name="T43" fmla="*/ 67069 h 1146"/>
              <a:gd name="T44" fmla="*/ 42543 w 1518"/>
              <a:gd name="T45" fmla="*/ 66251 h 1146"/>
              <a:gd name="T46" fmla="*/ 36816 w 1518"/>
              <a:gd name="T47" fmla="*/ 66251 h 1146"/>
              <a:gd name="T48" fmla="*/ 31907 w 1518"/>
              <a:gd name="T49" fmla="*/ 65433 h 1146"/>
              <a:gd name="T50" fmla="*/ 22908 w 1518"/>
              <a:gd name="T51" fmla="*/ 65433 h 1146"/>
              <a:gd name="T52" fmla="*/ 18817 w 1518"/>
              <a:gd name="T53" fmla="*/ 66251 h 1146"/>
              <a:gd name="T54" fmla="*/ 14726 w 1518"/>
              <a:gd name="T55" fmla="*/ 60525 h 1146"/>
              <a:gd name="T56" fmla="*/ 8181 w 1518"/>
              <a:gd name="T57" fmla="*/ 57254 h 1146"/>
              <a:gd name="T58" fmla="*/ 5727 w 1518"/>
              <a:gd name="T59" fmla="*/ 52346 h 1146"/>
              <a:gd name="T60" fmla="*/ 9818 w 1518"/>
              <a:gd name="T61" fmla="*/ 45803 h 1146"/>
              <a:gd name="T62" fmla="*/ 8999 w 1518"/>
              <a:gd name="T63" fmla="*/ 41714 h 1146"/>
              <a:gd name="T64" fmla="*/ 2454 w 1518"/>
              <a:gd name="T65" fmla="*/ 40078 h 1146"/>
              <a:gd name="T66" fmla="*/ 4091 w 1518"/>
              <a:gd name="T67" fmla="*/ 35988 h 1146"/>
              <a:gd name="T68" fmla="*/ 7363 w 1518"/>
              <a:gd name="T69" fmla="*/ 34352 h 1146"/>
              <a:gd name="T70" fmla="*/ 11454 w 1518"/>
              <a:gd name="T71" fmla="*/ 34352 h 1146"/>
              <a:gd name="T72" fmla="*/ 16363 w 1518"/>
              <a:gd name="T73" fmla="*/ 32716 h 1146"/>
              <a:gd name="T74" fmla="*/ 22090 w 1518"/>
              <a:gd name="T75" fmla="*/ 31899 h 1146"/>
              <a:gd name="T76" fmla="*/ 28635 w 1518"/>
              <a:gd name="T77" fmla="*/ 31899 h 1146"/>
              <a:gd name="T78" fmla="*/ 31907 w 1518"/>
              <a:gd name="T79" fmla="*/ 29445 h 1146"/>
              <a:gd name="T80" fmla="*/ 38452 w 1518"/>
              <a:gd name="T81" fmla="*/ 26991 h 1146"/>
              <a:gd name="T82" fmla="*/ 43361 w 1518"/>
              <a:gd name="T83" fmla="*/ 25355 h 1146"/>
              <a:gd name="T84" fmla="*/ 48270 w 1518"/>
              <a:gd name="T85" fmla="*/ 24537 h 1146"/>
              <a:gd name="T86" fmla="*/ 50724 w 1518"/>
              <a:gd name="T87" fmla="*/ 26173 h 1146"/>
              <a:gd name="T88" fmla="*/ 53179 w 1518"/>
              <a:gd name="T89" fmla="*/ 22084 h 1146"/>
              <a:gd name="T90" fmla="*/ 54815 w 1518"/>
              <a:gd name="T91" fmla="*/ 16358 h 1146"/>
              <a:gd name="T92" fmla="*/ 55633 w 1518"/>
              <a:gd name="T93" fmla="*/ 9815 h 1146"/>
              <a:gd name="T94" fmla="*/ 57269 w 1518"/>
              <a:gd name="T95" fmla="*/ 7361 h 1146"/>
              <a:gd name="T96" fmla="*/ 63814 w 1518"/>
              <a:gd name="T97" fmla="*/ 818 h 1146"/>
              <a:gd name="T98" fmla="*/ 67905 w 1518"/>
              <a:gd name="T99" fmla="*/ 818 h 1146"/>
              <a:gd name="T100" fmla="*/ 71178 w 1518"/>
              <a:gd name="T101" fmla="*/ 5725 h 1146"/>
              <a:gd name="T102" fmla="*/ 74450 w 1518"/>
              <a:gd name="T103" fmla="*/ 3272 h 1146"/>
              <a:gd name="T104" fmla="*/ 78541 w 1518"/>
              <a:gd name="T105" fmla="*/ 4907 h 1146"/>
              <a:gd name="T106" fmla="*/ 82632 w 1518"/>
              <a:gd name="T107" fmla="*/ 7361 h 1146"/>
              <a:gd name="T108" fmla="*/ 81813 w 1518"/>
              <a:gd name="T109" fmla="*/ 11451 h 1146"/>
              <a:gd name="T110" fmla="*/ 85904 w 1518"/>
              <a:gd name="T111" fmla="*/ 9815 h 1146"/>
              <a:gd name="T112" fmla="*/ 87540 w 1518"/>
              <a:gd name="T113" fmla="*/ 8179 h 1146"/>
              <a:gd name="T114" fmla="*/ 90813 w 1518"/>
              <a:gd name="T115" fmla="*/ 8179 h 1146"/>
              <a:gd name="T116" fmla="*/ 92449 w 1518"/>
              <a:gd name="T117" fmla="*/ 13087 h 1146"/>
              <a:gd name="T118" fmla="*/ 95722 w 1518"/>
              <a:gd name="T119" fmla="*/ 12269 h 1146"/>
              <a:gd name="T120" fmla="*/ 98994 w 1518"/>
              <a:gd name="T121" fmla="*/ 7361 h 1146"/>
              <a:gd name="T122" fmla="*/ 101449 w 1518"/>
              <a:gd name="T123" fmla="*/ 5725 h 1146"/>
              <a:gd name="T124" fmla="*/ 105539 w 1518"/>
              <a:gd name="T125" fmla="*/ 5725 h 11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518" h="1146">
                <a:moveTo>
                  <a:pt x="1452" y="78"/>
                </a:moveTo>
                <a:lnTo>
                  <a:pt x="1458" y="78"/>
                </a:lnTo>
                <a:lnTo>
                  <a:pt x="1464" y="96"/>
                </a:lnTo>
                <a:lnTo>
                  <a:pt x="1464" y="102"/>
                </a:lnTo>
                <a:lnTo>
                  <a:pt x="1464" y="114"/>
                </a:lnTo>
                <a:lnTo>
                  <a:pt x="1476" y="126"/>
                </a:lnTo>
                <a:lnTo>
                  <a:pt x="1482" y="126"/>
                </a:lnTo>
                <a:lnTo>
                  <a:pt x="1482" y="138"/>
                </a:lnTo>
                <a:lnTo>
                  <a:pt x="1494" y="138"/>
                </a:lnTo>
                <a:lnTo>
                  <a:pt x="1500" y="138"/>
                </a:lnTo>
                <a:lnTo>
                  <a:pt x="1518" y="156"/>
                </a:lnTo>
                <a:lnTo>
                  <a:pt x="1506" y="156"/>
                </a:lnTo>
                <a:lnTo>
                  <a:pt x="1506" y="168"/>
                </a:lnTo>
                <a:lnTo>
                  <a:pt x="1500" y="186"/>
                </a:lnTo>
                <a:lnTo>
                  <a:pt x="1488" y="192"/>
                </a:lnTo>
                <a:lnTo>
                  <a:pt x="1482" y="192"/>
                </a:lnTo>
                <a:lnTo>
                  <a:pt x="1476" y="192"/>
                </a:lnTo>
                <a:lnTo>
                  <a:pt x="1470" y="192"/>
                </a:lnTo>
                <a:lnTo>
                  <a:pt x="1470" y="186"/>
                </a:lnTo>
                <a:lnTo>
                  <a:pt x="1464" y="198"/>
                </a:lnTo>
                <a:lnTo>
                  <a:pt x="1464" y="204"/>
                </a:lnTo>
                <a:lnTo>
                  <a:pt x="1458" y="216"/>
                </a:lnTo>
                <a:lnTo>
                  <a:pt x="1452" y="222"/>
                </a:lnTo>
                <a:lnTo>
                  <a:pt x="1422" y="234"/>
                </a:lnTo>
                <a:lnTo>
                  <a:pt x="1410" y="246"/>
                </a:lnTo>
                <a:lnTo>
                  <a:pt x="1410" y="252"/>
                </a:lnTo>
                <a:lnTo>
                  <a:pt x="1404" y="252"/>
                </a:lnTo>
                <a:lnTo>
                  <a:pt x="1392" y="264"/>
                </a:lnTo>
                <a:lnTo>
                  <a:pt x="1386" y="258"/>
                </a:lnTo>
                <a:lnTo>
                  <a:pt x="1380" y="258"/>
                </a:lnTo>
                <a:lnTo>
                  <a:pt x="1374" y="264"/>
                </a:lnTo>
                <a:lnTo>
                  <a:pt x="1380" y="282"/>
                </a:lnTo>
                <a:lnTo>
                  <a:pt x="1380" y="300"/>
                </a:lnTo>
                <a:lnTo>
                  <a:pt x="1386" y="300"/>
                </a:lnTo>
                <a:lnTo>
                  <a:pt x="1392" y="312"/>
                </a:lnTo>
                <a:lnTo>
                  <a:pt x="1404" y="306"/>
                </a:lnTo>
                <a:lnTo>
                  <a:pt x="1410" y="306"/>
                </a:lnTo>
                <a:lnTo>
                  <a:pt x="1410" y="318"/>
                </a:lnTo>
                <a:lnTo>
                  <a:pt x="1416" y="318"/>
                </a:lnTo>
                <a:lnTo>
                  <a:pt x="1422" y="324"/>
                </a:lnTo>
                <a:lnTo>
                  <a:pt x="1452" y="330"/>
                </a:lnTo>
                <a:lnTo>
                  <a:pt x="1428" y="348"/>
                </a:lnTo>
                <a:lnTo>
                  <a:pt x="1428" y="366"/>
                </a:lnTo>
                <a:lnTo>
                  <a:pt x="1434" y="372"/>
                </a:lnTo>
                <a:lnTo>
                  <a:pt x="1440" y="390"/>
                </a:lnTo>
                <a:lnTo>
                  <a:pt x="1446" y="390"/>
                </a:lnTo>
                <a:lnTo>
                  <a:pt x="1452" y="390"/>
                </a:lnTo>
                <a:lnTo>
                  <a:pt x="1464" y="396"/>
                </a:lnTo>
                <a:lnTo>
                  <a:pt x="1470" y="408"/>
                </a:lnTo>
                <a:lnTo>
                  <a:pt x="1476" y="414"/>
                </a:lnTo>
                <a:lnTo>
                  <a:pt x="1470" y="420"/>
                </a:lnTo>
                <a:lnTo>
                  <a:pt x="1452" y="426"/>
                </a:lnTo>
                <a:lnTo>
                  <a:pt x="1440" y="432"/>
                </a:lnTo>
                <a:lnTo>
                  <a:pt x="1434" y="438"/>
                </a:lnTo>
                <a:lnTo>
                  <a:pt x="1428" y="438"/>
                </a:lnTo>
                <a:lnTo>
                  <a:pt x="1410" y="462"/>
                </a:lnTo>
                <a:lnTo>
                  <a:pt x="1404" y="468"/>
                </a:lnTo>
                <a:lnTo>
                  <a:pt x="1434" y="486"/>
                </a:lnTo>
                <a:lnTo>
                  <a:pt x="1428" y="492"/>
                </a:lnTo>
                <a:lnTo>
                  <a:pt x="1416" y="504"/>
                </a:lnTo>
                <a:lnTo>
                  <a:pt x="1392" y="516"/>
                </a:lnTo>
                <a:lnTo>
                  <a:pt x="1404" y="552"/>
                </a:lnTo>
                <a:lnTo>
                  <a:pt x="1404" y="558"/>
                </a:lnTo>
                <a:lnTo>
                  <a:pt x="1398" y="558"/>
                </a:lnTo>
                <a:lnTo>
                  <a:pt x="1380" y="564"/>
                </a:lnTo>
                <a:lnTo>
                  <a:pt x="1368" y="570"/>
                </a:lnTo>
                <a:lnTo>
                  <a:pt x="1368" y="582"/>
                </a:lnTo>
                <a:lnTo>
                  <a:pt x="1368" y="588"/>
                </a:lnTo>
                <a:lnTo>
                  <a:pt x="1368" y="594"/>
                </a:lnTo>
                <a:lnTo>
                  <a:pt x="1368" y="606"/>
                </a:lnTo>
                <a:lnTo>
                  <a:pt x="1368" y="612"/>
                </a:lnTo>
                <a:lnTo>
                  <a:pt x="1362" y="618"/>
                </a:lnTo>
                <a:lnTo>
                  <a:pt x="1356" y="618"/>
                </a:lnTo>
                <a:lnTo>
                  <a:pt x="1332" y="624"/>
                </a:lnTo>
                <a:lnTo>
                  <a:pt x="1302" y="624"/>
                </a:lnTo>
                <a:lnTo>
                  <a:pt x="1302" y="606"/>
                </a:lnTo>
                <a:lnTo>
                  <a:pt x="1296" y="600"/>
                </a:lnTo>
                <a:lnTo>
                  <a:pt x="1272" y="612"/>
                </a:lnTo>
                <a:lnTo>
                  <a:pt x="1248" y="612"/>
                </a:lnTo>
                <a:lnTo>
                  <a:pt x="1242" y="618"/>
                </a:lnTo>
                <a:lnTo>
                  <a:pt x="1236" y="624"/>
                </a:lnTo>
                <a:lnTo>
                  <a:pt x="1224" y="630"/>
                </a:lnTo>
                <a:lnTo>
                  <a:pt x="1212" y="636"/>
                </a:lnTo>
                <a:lnTo>
                  <a:pt x="1212" y="666"/>
                </a:lnTo>
                <a:lnTo>
                  <a:pt x="1212" y="672"/>
                </a:lnTo>
                <a:lnTo>
                  <a:pt x="1236" y="666"/>
                </a:lnTo>
                <a:lnTo>
                  <a:pt x="1248" y="672"/>
                </a:lnTo>
                <a:lnTo>
                  <a:pt x="1254" y="678"/>
                </a:lnTo>
                <a:lnTo>
                  <a:pt x="1260" y="690"/>
                </a:lnTo>
                <a:lnTo>
                  <a:pt x="1266" y="696"/>
                </a:lnTo>
                <a:lnTo>
                  <a:pt x="1266" y="708"/>
                </a:lnTo>
                <a:lnTo>
                  <a:pt x="1266" y="714"/>
                </a:lnTo>
                <a:lnTo>
                  <a:pt x="1242" y="726"/>
                </a:lnTo>
                <a:lnTo>
                  <a:pt x="1236" y="726"/>
                </a:lnTo>
                <a:lnTo>
                  <a:pt x="1236" y="720"/>
                </a:lnTo>
                <a:lnTo>
                  <a:pt x="1224" y="708"/>
                </a:lnTo>
                <a:lnTo>
                  <a:pt x="1206" y="708"/>
                </a:lnTo>
                <a:lnTo>
                  <a:pt x="1194" y="708"/>
                </a:lnTo>
                <a:lnTo>
                  <a:pt x="1194" y="696"/>
                </a:lnTo>
                <a:lnTo>
                  <a:pt x="1194" y="690"/>
                </a:lnTo>
                <a:lnTo>
                  <a:pt x="1164" y="684"/>
                </a:lnTo>
                <a:lnTo>
                  <a:pt x="1158" y="690"/>
                </a:lnTo>
                <a:lnTo>
                  <a:pt x="1146" y="696"/>
                </a:lnTo>
                <a:lnTo>
                  <a:pt x="1152" y="708"/>
                </a:lnTo>
                <a:lnTo>
                  <a:pt x="1158" y="708"/>
                </a:lnTo>
                <a:lnTo>
                  <a:pt x="1158" y="714"/>
                </a:lnTo>
                <a:lnTo>
                  <a:pt x="1170" y="714"/>
                </a:lnTo>
                <a:lnTo>
                  <a:pt x="1176" y="720"/>
                </a:lnTo>
                <a:lnTo>
                  <a:pt x="1164" y="726"/>
                </a:lnTo>
                <a:lnTo>
                  <a:pt x="1164" y="762"/>
                </a:lnTo>
                <a:lnTo>
                  <a:pt x="1164" y="768"/>
                </a:lnTo>
                <a:lnTo>
                  <a:pt x="1128" y="792"/>
                </a:lnTo>
                <a:lnTo>
                  <a:pt x="1122" y="792"/>
                </a:lnTo>
                <a:lnTo>
                  <a:pt x="1122" y="804"/>
                </a:lnTo>
                <a:lnTo>
                  <a:pt x="1116" y="804"/>
                </a:lnTo>
                <a:lnTo>
                  <a:pt x="1116" y="810"/>
                </a:lnTo>
                <a:lnTo>
                  <a:pt x="1116" y="816"/>
                </a:lnTo>
                <a:lnTo>
                  <a:pt x="1110" y="822"/>
                </a:lnTo>
                <a:lnTo>
                  <a:pt x="1104" y="828"/>
                </a:lnTo>
                <a:lnTo>
                  <a:pt x="1104" y="834"/>
                </a:lnTo>
                <a:lnTo>
                  <a:pt x="1110" y="852"/>
                </a:lnTo>
                <a:lnTo>
                  <a:pt x="1092" y="864"/>
                </a:lnTo>
                <a:lnTo>
                  <a:pt x="1074" y="852"/>
                </a:lnTo>
                <a:lnTo>
                  <a:pt x="1068" y="864"/>
                </a:lnTo>
                <a:lnTo>
                  <a:pt x="1068" y="870"/>
                </a:lnTo>
                <a:lnTo>
                  <a:pt x="1062" y="870"/>
                </a:lnTo>
                <a:lnTo>
                  <a:pt x="1056" y="870"/>
                </a:lnTo>
                <a:lnTo>
                  <a:pt x="1050" y="870"/>
                </a:lnTo>
                <a:lnTo>
                  <a:pt x="1044" y="870"/>
                </a:lnTo>
                <a:lnTo>
                  <a:pt x="1044" y="876"/>
                </a:lnTo>
                <a:lnTo>
                  <a:pt x="1038" y="888"/>
                </a:lnTo>
                <a:lnTo>
                  <a:pt x="1032" y="888"/>
                </a:lnTo>
                <a:lnTo>
                  <a:pt x="1026" y="882"/>
                </a:lnTo>
                <a:lnTo>
                  <a:pt x="1026" y="876"/>
                </a:lnTo>
                <a:lnTo>
                  <a:pt x="1020" y="876"/>
                </a:lnTo>
                <a:lnTo>
                  <a:pt x="1008" y="882"/>
                </a:lnTo>
                <a:lnTo>
                  <a:pt x="1002" y="888"/>
                </a:lnTo>
                <a:lnTo>
                  <a:pt x="1008" y="900"/>
                </a:lnTo>
                <a:lnTo>
                  <a:pt x="1014" y="900"/>
                </a:lnTo>
                <a:lnTo>
                  <a:pt x="1026" y="906"/>
                </a:lnTo>
                <a:lnTo>
                  <a:pt x="1026" y="918"/>
                </a:lnTo>
                <a:lnTo>
                  <a:pt x="1026" y="930"/>
                </a:lnTo>
                <a:lnTo>
                  <a:pt x="1032" y="942"/>
                </a:lnTo>
                <a:lnTo>
                  <a:pt x="1038" y="948"/>
                </a:lnTo>
                <a:lnTo>
                  <a:pt x="1038" y="954"/>
                </a:lnTo>
                <a:lnTo>
                  <a:pt x="1032" y="960"/>
                </a:lnTo>
                <a:lnTo>
                  <a:pt x="1044" y="972"/>
                </a:lnTo>
                <a:lnTo>
                  <a:pt x="1026" y="984"/>
                </a:lnTo>
                <a:lnTo>
                  <a:pt x="1008" y="972"/>
                </a:lnTo>
                <a:lnTo>
                  <a:pt x="1002" y="972"/>
                </a:lnTo>
                <a:lnTo>
                  <a:pt x="966" y="1002"/>
                </a:lnTo>
                <a:lnTo>
                  <a:pt x="954" y="1026"/>
                </a:lnTo>
                <a:lnTo>
                  <a:pt x="924" y="1008"/>
                </a:lnTo>
                <a:lnTo>
                  <a:pt x="918" y="1014"/>
                </a:lnTo>
                <a:lnTo>
                  <a:pt x="906" y="1026"/>
                </a:lnTo>
                <a:lnTo>
                  <a:pt x="900" y="1038"/>
                </a:lnTo>
                <a:lnTo>
                  <a:pt x="894" y="1044"/>
                </a:lnTo>
                <a:lnTo>
                  <a:pt x="888" y="1050"/>
                </a:lnTo>
                <a:lnTo>
                  <a:pt x="876" y="1062"/>
                </a:lnTo>
                <a:lnTo>
                  <a:pt x="870" y="1074"/>
                </a:lnTo>
                <a:lnTo>
                  <a:pt x="858" y="1074"/>
                </a:lnTo>
                <a:lnTo>
                  <a:pt x="852" y="1074"/>
                </a:lnTo>
                <a:lnTo>
                  <a:pt x="852" y="1092"/>
                </a:lnTo>
                <a:lnTo>
                  <a:pt x="852" y="1098"/>
                </a:lnTo>
                <a:lnTo>
                  <a:pt x="858" y="1098"/>
                </a:lnTo>
                <a:lnTo>
                  <a:pt x="870" y="1092"/>
                </a:lnTo>
                <a:lnTo>
                  <a:pt x="876" y="1092"/>
                </a:lnTo>
                <a:lnTo>
                  <a:pt x="882" y="1098"/>
                </a:lnTo>
                <a:lnTo>
                  <a:pt x="888" y="1122"/>
                </a:lnTo>
                <a:lnTo>
                  <a:pt x="870" y="1128"/>
                </a:lnTo>
                <a:lnTo>
                  <a:pt x="864" y="1128"/>
                </a:lnTo>
                <a:lnTo>
                  <a:pt x="852" y="1140"/>
                </a:lnTo>
                <a:lnTo>
                  <a:pt x="846" y="1146"/>
                </a:lnTo>
                <a:lnTo>
                  <a:pt x="840" y="1140"/>
                </a:lnTo>
                <a:lnTo>
                  <a:pt x="834" y="1128"/>
                </a:lnTo>
                <a:lnTo>
                  <a:pt x="810" y="1098"/>
                </a:lnTo>
                <a:lnTo>
                  <a:pt x="804" y="1098"/>
                </a:lnTo>
                <a:lnTo>
                  <a:pt x="786" y="1074"/>
                </a:lnTo>
                <a:lnTo>
                  <a:pt x="762" y="1026"/>
                </a:lnTo>
                <a:lnTo>
                  <a:pt x="780" y="1014"/>
                </a:lnTo>
                <a:lnTo>
                  <a:pt x="774" y="1002"/>
                </a:lnTo>
                <a:lnTo>
                  <a:pt x="774" y="996"/>
                </a:lnTo>
                <a:lnTo>
                  <a:pt x="768" y="1002"/>
                </a:lnTo>
                <a:lnTo>
                  <a:pt x="762" y="1002"/>
                </a:lnTo>
                <a:lnTo>
                  <a:pt x="756" y="996"/>
                </a:lnTo>
                <a:lnTo>
                  <a:pt x="732" y="1002"/>
                </a:lnTo>
                <a:lnTo>
                  <a:pt x="732" y="990"/>
                </a:lnTo>
                <a:lnTo>
                  <a:pt x="750" y="978"/>
                </a:lnTo>
                <a:lnTo>
                  <a:pt x="750" y="966"/>
                </a:lnTo>
                <a:lnTo>
                  <a:pt x="750" y="954"/>
                </a:lnTo>
                <a:lnTo>
                  <a:pt x="756" y="948"/>
                </a:lnTo>
                <a:lnTo>
                  <a:pt x="744" y="942"/>
                </a:lnTo>
                <a:lnTo>
                  <a:pt x="756" y="930"/>
                </a:lnTo>
                <a:lnTo>
                  <a:pt x="732" y="912"/>
                </a:lnTo>
                <a:lnTo>
                  <a:pt x="696" y="918"/>
                </a:lnTo>
                <a:lnTo>
                  <a:pt x="690" y="918"/>
                </a:lnTo>
                <a:lnTo>
                  <a:pt x="678" y="918"/>
                </a:lnTo>
                <a:lnTo>
                  <a:pt x="672" y="918"/>
                </a:lnTo>
                <a:lnTo>
                  <a:pt x="666" y="918"/>
                </a:lnTo>
                <a:lnTo>
                  <a:pt x="660" y="918"/>
                </a:lnTo>
                <a:lnTo>
                  <a:pt x="654" y="918"/>
                </a:lnTo>
                <a:lnTo>
                  <a:pt x="642" y="918"/>
                </a:lnTo>
                <a:lnTo>
                  <a:pt x="630" y="912"/>
                </a:lnTo>
                <a:lnTo>
                  <a:pt x="624" y="912"/>
                </a:lnTo>
                <a:lnTo>
                  <a:pt x="612" y="906"/>
                </a:lnTo>
                <a:lnTo>
                  <a:pt x="606" y="900"/>
                </a:lnTo>
                <a:lnTo>
                  <a:pt x="588" y="906"/>
                </a:lnTo>
                <a:lnTo>
                  <a:pt x="576" y="906"/>
                </a:lnTo>
                <a:lnTo>
                  <a:pt x="570" y="912"/>
                </a:lnTo>
                <a:lnTo>
                  <a:pt x="564" y="912"/>
                </a:lnTo>
                <a:lnTo>
                  <a:pt x="546" y="912"/>
                </a:lnTo>
                <a:lnTo>
                  <a:pt x="534" y="918"/>
                </a:lnTo>
                <a:lnTo>
                  <a:pt x="528" y="918"/>
                </a:lnTo>
                <a:lnTo>
                  <a:pt x="522" y="912"/>
                </a:lnTo>
                <a:lnTo>
                  <a:pt x="516" y="912"/>
                </a:lnTo>
                <a:lnTo>
                  <a:pt x="510" y="912"/>
                </a:lnTo>
                <a:lnTo>
                  <a:pt x="498" y="918"/>
                </a:lnTo>
                <a:lnTo>
                  <a:pt x="486" y="918"/>
                </a:lnTo>
                <a:lnTo>
                  <a:pt x="474" y="918"/>
                </a:lnTo>
                <a:lnTo>
                  <a:pt x="468" y="918"/>
                </a:lnTo>
                <a:lnTo>
                  <a:pt x="462" y="912"/>
                </a:lnTo>
                <a:lnTo>
                  <a:pt x="462" y="906"/>
                </a:lnTo>
                <a:lnTo>
                  <a:pt x="456" y="894"/>
                </a:lnTo>
                <a:lnTo>
                  <a:pt x="444" y="894"/>
                </a:lnTo>
                <a:lnTo>
                  <a:pt x="438" y="894"/>
                </a:lnTo>
                <a:lnTo>
                  <a:pt x="432" y="888"/>
                </a:lnTo>
                <a:lnTo>
                  <a:pt x="396" y="888"/>
                </a:lnTo>
                <a:lnTo>
                  <a:pt x="378" y="894"/>
                </a:lnTo>
                <a:lnTo>
                  <a:pt x="366" y="900"/>
                </a:lnTo>
                <a:lnTo>
                  <a:pt x="348" y="900"/>
                </a:lnTo>
                <a:lnTo>
                  <a:pt x="342" y="900"/>
                </a:lnTo>
                <a:lnTo>
                  <a:pt x="342" y="894"/>
                </a:lnTo>
                <a:lnTo>
                  <a:pt x="330" y="894"/>
                </a:lnTo>
                <a:lnTo>
                  <a:pt x="318" y="900"/>
                </a:lnTo>
                <a:lnTo>
                  <a:pt x="312" y="900"/>
                </a:lnTo>
                <a:lnTo>
                  <a:pt x="306" y="894"/>
                </a:lnTo>
                <a:lnTo>
                  <a:pt x="300" y="894"/>
                </a:lnTo>
                <a:lnTo>
                  <a:pt x="300" y="900"/>
                </a:lnTo>
                <a:lnTo>
                  <a:pt x="294" y="900"/>
                </a:lnTo>
                <a:lnTo>
                  <a:pt x="282" y="906"/>
                </a:lnTo>
                <a:lnTo>
                  <a:pt x="270" y="912"/>
                </a:lnTo>
                <a:lnTo>
                  <a:pt x="258" y="912"/>
                </a:lnTo>
                <a:lnTo>
                  <a:pt x="258" y="906"/>
                </a:lnTo>
                <a:lnTo>
                  <a:pt x="252" y="900"/>
                </a:lnTo>
                <a:lnTo>
                  <a:pt x="234" y="894"/>
                </a:lnTo>
                <a:lnTo>
                  <a:pt x="222" y="894"/>
                </a:lnTo>
                <a:lnTo>
                  <a:pt x="222" y="882"/>
                </a:lnTo>
                <a:lnTo>
                  <a:pt x="222" y="876"/>
                </a:lnTo>
                <a:lnTo>
                  <a:pt x="216" y="870"/>
                </a:lnTo>
                <a:lnTo>
                  <a:pt x="216" y="858"/>
                </a:lnTo>
                <a:lnTo>
                  <a:pt x="204" y="846"/>
                </a:lnTo>
                <a:lnTo>
                  <a:pt x="198" y="834"/>
                </a:lnTo>
                <a:lnTo>
                  <a:pt x="192" y="834"/>
                </a:lnTo>
                <a:lnTo>
                  <a:pt x="180" y="834"/>
                </a:lnTo>
                <a:lnTo>
                  <a:pt x="168" y="816"/>
                </a:lnTo>
                <a:lnTo>
                  <a:pt x="156" y="810"/>
                </a:lnTo>
                <a:lnTo>
                  <a:pt x="150" y="798"/>
                </a:lnTo>
                <a:lnTo>
                  <a:pt x="138" y="798"/>
                </a:lnTo>
                <a:lnTo>
                  <a:pt x="132" y="786"/>
                </a:lnTo>
                <a:lnTo>
                  <a:pt x="126" y="780"/>
                </a:lnTo>
                <a:lnTo>
                  <a:pt x="108" y="786"/>
                </a:lnTo>
                <a:lnTo>
                  <a:pt x="114" y="768"/>
                </a:lnTo>
                <a:lnTo>
                  <a:pt x="114" y="762"/>
                </a:lnTo>
                <a:lnTo>
                  <a:pt x="114" y="756"/>
                </a:lnTo>
                <a:lnTo>
                  <a:pt x="96" y="756"/>
                </a:lnTo>
                <a:lnTo>
                  <a:pt x="96" y="750"/>
                </a:lnTo>
                <a:lnTo>
                  <a:pt x="96" y="738"/>
                </a:lnTo>
                <a:lnTo>
                  <a:pt x="84" y="738"/>
                </a:lnTo>
                <a:lnTo>
                  <a:pt x="84" y="732"/>
                </a:lnTo>
                <a:lnTo>
                  <a:pt x="78" y="720"/>
                </a:lnTo>
                <a:lnTo>
                  <a:pt x="78" y="708"/>
                </a:lnTo>
                <a:lnTo>
                  <a:pt x="96" y="702"/>
                </a:lnTo>
                <a:lnTo>
                  <a:pt x="114" y="678"/>
                </a:lnTo>
                <a:lnTo>
                  <a:pt x="120" y="672"/>
                </a:lnTo>
                <a:lnTo>
                  <a:pt x="126" y="672"/>
                </a:lnTo>
                <a:lnTo>
                  <a:pt x="126" y="666"/>
                </a:lnTo>
                <a:lnTo>
                  <a:pt x="126" y="648"/>
                </a:lnTo>
                <a:lnTo>
                  <a:pt x="138" y="636"/>
                </a:lnTo>
                <a:lnTo>
                  <a:pt x="138" y="624"/>
                </a:lnTo>
                <a:lnTo>
                  <a:pt x="138" y="612"/>
                </a:lnTo>
                <a:lnTo>
                  <a:pt x="138" y="606"/>
                </a:lnTo>
                <a:lnTo>
                  <a:pt x="132" y="606"/>
                </a:lnTo>
                <a:lnTo>
                  <a:pt x="132" y="600"/>
                </a:lnTo>
                <a:lnTo>
                  <a:pt x="132" y="594"/>
                </a:lnTo>
                <a:lnTo>
                  <a:pt x="126" y="594"/>
                </a:lnTo>
                <a:lnTo>
                  <a:pt x="126" y="588"/>
                </a:lnTo>
                <a:lnTo>
                  <a:pt x="126" y="582"/>
                </a:lnTo>
                <a:lnTo>
                  <a:pt x="120" y="570"/>
                </a:lnTo>
                <a:lnTo>
                  <a:pt x="108" y="570"/>
                </a:lnTo>
                <a:lnTo>
                  <a:pt x="102" y="570"/>
                </a:lnTo>
                <a:lnTo>
                  <a:pt x="90" y="588"/>
                </a:lnTo>
                <a:lnTo>
                  <a:pt x="72" y="582"/>
                </a:lnTo>
                <a:lnTo>
                  <a:pt x="60" y="582"/>
                </a:lnTo>
                <a:lnTo>
                  <a:pt x="60" y="570"/>
                </a:lnTo>
                <a:lnTo>
                  <a:pt x="54" y="558"/>
                </a:lnTo>
                <a:lnTo>
                  <a:pt x="42" y="552"/>
                </a:lnTo>
                <a:lnTo>
                  <a:pt x="36" y="546"/>
                </a:lnTo>
                <a:lnTo>
                  <a:pt x="24" y="528"/>
                </a:lnTo>
                <a:lnTo>
                  <a:pt x="12" y="516"/>
                </a:lnTo>
                <a:lnTo>
                  <a:pt x="12" y="510"/>
                </a:lnTo>
                <a:lnTo>
                  <a:pt x="0" y="504"/>
                </a:lnTo>
                <a:lnTo>
                  <a:pt x="6" y="504"/>
                </a:lnTo>
                <a:lnTo>
                  <a:pt x="18" y="492"/>
                </a:lnTo>
                <a:lnTo>
                  <a:pt x="30" y="492"/>
                </a:lnTo>
                <a:lnTo>
                  <a:pt x="42" y="486"/>
                </a:lnTo>
                <a:lnTo>
                  <a:pt x="54" y="492"/>
                </a:lnTo>
                <a:lnTo>
                  <a:pt x="60" y="492"/>
                </a:lnTo>
                <a:lnTo>
                  <a:pt x="66" y="492"/>
                </a:lnTo>
                <a:lnTo>
                  <a:pt x="72" y="492"/>
                </a:lnTo>
                <a:lnTo>
                  <a:pt x="78" y="498"/>
                </a:lnTo>
                <a:lnTo>
                  <a:pt x="84" y="498"/>
                </a:lnTo>
                <a:lnTo>
                  <a:pt x="90" y="492"/>
                </a:lnTo>
                <a:lnTo>
                  <a:pt x="90" y="486"/>
                </a:lnTo>
                <a:lnTo>
                  <a:pt x="90" y="480"/>
                </a:lnTo>
                <a:lnTo>
                  <a:pt x="96" y="474"/>
                </a:lnTo>
                <a:lnTo>
                  <a:pt x="96" y="468"/>
                </a:lnTo>
                <a:lnTo>
                  <a:pt x="102" y="468"/>
                </a:lnTo>
                <a:lnTo>
                  <a:pt x="108" y="462"/>
                </a:lnTo>
                <a:lnTo>
                  <a:pt x="114" y="456"/>
                </a:lnTo>
                <a:lnTo>
                  <a:pt x="114" y="450"/>
                </a:lnTo>
                <a:lnTo>
                  <a:pt x="120" y="444"/>
                </a:lnTo>
                <a:lnTo>
                  <a:pt x="126" y="450"/>
                </a:lnTo>
                <a:lnTo>
                  <a:pt x="150" y="462"/>
                </a:lnTo>
                <a:lnTo>
                  <a:pt x="156" y="468"/>
                </a:lnTo>
                <a:lnTo>
                  <a:pt x="168" y="468"/>
                </a:lnTo>
                <a:lnTo>
                  <a:pt x="180" y="474"/>
                </a:lnTo>
                <a:lnTo>
                  <a:pt x="186" y="468"/>
                </a:lnTo>
                <a:lnTo>
                  <a:pt x="186" y="456"/>
                </a:lnTo>
                <a:lnTo>
                  <a:pt x="192" y="456"/>
                </a:lnTo>
                <a:lnTo>
                  <a:pt x="198" y="450"/>
                </a:lnTo>
                <a:lnTo>
                  <a:pt x="204" y="444"/>
                </a:lnTo>
                <a:lnTo>
                  <a:pt x="210" y="444"/>
                </a:lnTo>
                <a:lnTo>
                  <a:pt x="222" y="444"/>
                </a:lnTo>
                <a:lnTo>
                  <a:pt x="234" y="450"/>
                </a:lnTo>
                <a:lnTo>
                  <a:pt x="240" y="450"/>
                </a:lnTo>
                <a:lnTo>
                  <a:pt x="252" y="444"/>
                </a:lnTo>
                <a:lnTo>
                  <a:pt x="258" y="444"/>
                </a:lnTo>
                <a:lnTo>
                  <a:pt x="270" y="432"/>
                </a:lnTo>
                <a:lnTo>
                  <a:pt x="276" y="432"/>
                </a:lnTo>
                <a:lnTo>
                  <a:pt x="282" y="426"/>
                </a:lnTo>
                <a:lnTo>
                  <a:pt x="294" y="432"/>
                </a:lnTo>
                <a:lnTo>
                  <a:pt x="306" y="438"/>
                </a:lnTo>
                <a:lnTo>
                  <a:pt x="312" y="444"/>
                </a:lnTo>
                <a:lnTo>
                  <a:pt x="318" y="444"/>
                </a:lnTo>
                <a:lnTo>
                  <a:pt x="330" y="444"/>
                </a:lnTo>
                <a:lnTo>
                  <a:pt x="342" y="444"/>
                </a:lnTo>
                <a:lnTo>
                  <a:pt x="354" y="444"/>
                </a:lnTo>
                <a:lnTo>
                  <a:pt x="366" y="438"/>
                </a:lnTo>
                <a:lnTo>
                  <a:pt x="378" y="438"/>
                </a:lnTo>
                <a:lnTo>
                  <a:pt x="384" y="438"/>
                </a:lnTo>
                <a:lnTo>
                  <a:pt x="390" y="438"/>
                </a:lnTo>
                <a:lnTo>
                  <a:pt x="396" y="444"/>
                </a:lnTo>
                <a:lnTo>
                  <a:pt x="402" y="444"/>
                </a:lnTo>
                <a:lnTo>
                  <a:pt x="408" y="450"/>
                </a:lnTo>
                <a:lnTo>
                  <a:pt x="420" y="450"/>
                </a:lnTo>
                <a:lnTo>
                  <a:pt x="426" y="444"/>
                </a:lnTo>
                <a:lnTo>
                  <a:pt x="432" y="426"/>
                </a:lnTo>
                <a:lnTo>
                  <a:pt x="432" y="420"/>
                </a:lnTo>
                <a:lnTo>
                  <a:pt x="438" y="414"/>
                </a:lnTo>
                <a:lnTo>
                  <a:pt x="444" y="408"/>
                </a:lnTo>
                <a:lnTo>
                  <a:pt x="462" y="408"/>
                </a:lnTo>
                <a:lnTo>
                  <a:pt x="468" y="402"/>
                </a:lnTo>
                <a:lnTo>
                  <a:pt x="474" y="390"/>
                </a:lnTo>
                <a:lnTo>
                  <a:pt x="480" y="378"/>
                </a:lnTo>
                <a:lnTo>
                  <a:pt x="492" y="372"/>
                </a:lnTo>
                <a:lnTo>
                  <a:pt x="498" y="372"/>
                </a:lnTo>
                <a:lnTo>
                  <a:pt x="510" y="372"/>
                </a:lnTo>
                <a:lnTo>
                  <a:pt x="522" y="366"/>
                </a:lnTo>
                <a:lnTo>
                  <a:pt x="528" y="366"/>
                </a:lnTo>
                <a:lnTo>
                  <a:pt x="546" y="366"/>
                </a:lnTo>
                <a:lnTo>
                  <a:pt x="558" y="360"/>
                </a:lnTo>
                <a:lnTo>
                  <a:pt x="564" y="360"/>
                </a:lnTo>
                <a:lnTo>
                  <a:pt x="570" y="360"/>
                </a:lnTo>
                <a:lnTo>
                  <a:pt x="576" y="360"/>
                </a:lnTo>
                <a:lnTo>
                  <a:pt x="582" y="360"/>
                </a:lnTo>
                <a:lnTo>
                  <a:pt x="588" y="360"/>
                </a:lnTo>
                <a:lnTo>
                  <a:pt x="594" y="354"/>
                </a:lnTo>
                <a:lnTo>
                  <a:pt x="600" y="348"/>
                </a:lnTo>
                <a:lnTo>
                  <a:pt x="606" y="354"/>
                </a:lnTo>
                <a:lnTo>
                  <a:pt x="612" y="360"/>
                </a:lnTo>
                <a:lnTo>
                  <a:pt x="624" y="360"/>
                </a:lnTo>
                <a:lnTo>
                  <a:pt x="630" y="354"/>
                </a:lnTo>
                <a:lnTo>
                  <a:pt x="642" y="348"/>
                </a:lnTo>
                <a:lnTo>
                  <a:pt x="648" y="348"/>
                </a:lnTo>
                <a:lnTo>
                  <a:pt x="654" y="348"/>
                </a:lnTo>
                <a:lnTo>
                  <a:pt x="660" y="342"/>
                </a:lnTo>
                <a:lnTo>
                  <a:pt x="666" y="336"/>
                </a:lnTo>
                <a:lnTo>
                  <a:pt x="666" y="330"/>
                </a:lnTo>
                <a:lnTo>
                  <a:pt x="666" y="324"/>
                </a:lnTo>
                <a:lnTo>
                  <a:pt x="678" y="324"/>
                </a:lnTo>
                <a:lnTo>
                  <a:pt x="690" y="324"/>
                </a:lnTo>
                <a:lnTo>
                  <a:pt x="690" y="330"/>
                </a:lnTo>
                <a:lnTo>
                  <a:pt x="690" y="336"/>
                </a:lnTo>
                <a:lnTo>
                  <a:pt x="696" y="342"/>
                </a:lnTo>
                <a:lnTo>
                  <a:pt x="702" y="348"/>
                </a:lnTo>
                <a:lnTo>
                  <a:pt x="702" y="354"/>
                </a:lnTo>
                <a:lnTo>
                  <a:pt x="708" y="354"/>
                </a:lnTo>
                <a:lnTo>
                  <a:pt x="708" y="348"/>
                </a:lnTo>
                <a:lnTo>
                  <a:pt x="708" y="336"/>
                </a:lnTo>
                <a:lnTo>
                  <a:pt x="714" y="330"/>
                </a:lnTo>
                <a:lnTo>
                  <a:pt x="726" y="324"/>
                </a:lnTo>
                <a:lnTo>
                  <a:pt x="732" y="318"/>
                </a:lnTo>
                <a:lnTo>
                  <a:pt x="732" y="312"/>
                </a:lnTo>
                <a:lnTo>
                  <a:pt x="732" y="306"/>
                </a:lnTo>
                <a:lnTo>
                  <a:pt x="732" y="300"/>
                </a:lnTo>
                <a:lnTo>
                  <a:pt x="738" y="300"/>
                </a:lnTo>
                <a:lnTo>
                  <a:pt x="738" y="294"/>
                </a:lnTo>
                <a:lnTo>
                  <a:pt x="738" y="288"/>
                </a:lnTo>
                <a:lnTo>
                  <a:pt x="738" y="282"/>
                </a:lnTo>
                <a:lnTo>
                  <a:pt x="738" y="264"/>
                </a:lnTo>
                <a:lnTo>
                  <a:pt x="738" y="246"/>
                </a:lnTo>
                <a:lnTo>
                  <a:pt x="732" y="234"/>
                </a:lnTo>
                <a:lnTo>
                  <a:pt x="738" y="228"/>
                </a:lnTo>
                <a:lnTo>
                  <a:pt x="750" y="222"/>
                </a:lnTo>
                <a:lnTo>
                  <a:pt x="750" y="216"/>
                </a:lnTo>
                <a:lnTo>
                  <a:pt x="750" y="204"/>
                </a:lnTo>
                <a:lnTo>
                  <a:pt x="750" y="198"/>
                </a:lnTo>
                <a:lnTo>
                  <a:pt x="744" y="186"/>
                </a:lnTo>
                <a:lnTo>
                  <a:pt x="738" y="168"/>
                </a:lnTo>
                <a:lnTo>
                  <a:pt x="744" y="162"/>
                </a:lnTo>
                <a:lnTo>
                  <a:pt x="744" y="150"/>
                </a:lnTo>
                <a:lnTo>
                  <a:pt x="756" y="144"/>
                </a:lnTo>
                <a:lnTo>
                  <a:pt x="762" y="132"/>
                </a:lnTo>
                <a:lnTo>
                  <a:pt x="762" y="126"/>
                </a:lnTo>
                <a:lnTo>
                  <a:pt x="756" y="120"/>
                </a:lnTo>
                <a:lnTo>
                  <a:pt x="756" y="114"/>
                </a:lnTo>
                <a:lnTo>
                  <a:pt x="756" y="108"/>
                </a:lnTo>
                <a:lnTo>
                  <a:pt x="762" y="102"/>
                </a:lnTo>
                <a:lnTo>
                  <a:pt x="768" y="96"/>
                </a:lnTo>
                <a:lnTo>
                  <a:pt x="774" y="90"/>
                </a:lnTo>
                <a:lnTo>
                  <a:pt x="780" y="96"/>
                </a:lnTo>
                <a:lnTo>
                  <a:pt x="786" y="96"/>
                </a:lnTo>
                <a:lnTo>
                  <a:pt x="792" y="90"/>
                </a:lnTo>
                <a:lnTo>
                  <a:pt x="792" y="84"/>
                </a:lnTo>
                <a:lnTo>
                  <a:pt x="798" y="84"/>
                </a:lnTo>
                <a:lnTo>
                  <a:pt x="804" y="84"/>
                </a:lnTo>
                <a:lnTo>
                  <a:pt x="822" y="78"/>
                </a:lnTo>
                <a:lnTo>
                  <a:pt x="834" y="66"/>
                </a:lnTo>
                <a:lnTo>
                  <a:pt x="840" y="42"/>
                </a:lnTo>
                <a:lnTo>
                  <a:pt x="858" y="30"/>
                </a:lnTo>
                <a:lnTo>
                  <a:pt x="870" y="18"/>
                </a:lnTo>
                <a:lnTo>
                  <a:pt x="870" y="12"/>
                </a:lnTo>
                <a:lnTo>
                  <a:pt x="882" y="6"/>
                </a:lnTo>
                <a:lnTo>
                  <a:pt x="888" y="0"/>
                </a:lnTo>
                <a:lnTo>
                  <a:pt x="900" y="6"/>
                </a:lnTo>
                <a:lnTo>
                  <a:pt x="906" y="18"/>
                </a:lnTo>
                <a:lnTo>
                  <a:pt x="912" y="18"/>
                </a:lnTo>
                <a:lnTo>
                  <a:pt x="918" y="12"/>
                </a:lnTo>
                <a:lnTo>
                  <a:pt x="930" y="12"/>
                </a:lnTo>
                <a:lnTo>
                  <a:pt x="936" y="18"/>
                </a:lnTo>
                <a:lnTo>
                  <a:pt x="936" y="24"/>
                </a:lnTo>
                <a:lnTo>
                  <a:pt x="942" y="24"/>
                </a:lnTo>
                <a:lnTo>
                  <a:pt x="942" y="30"/>
                </a:lnTo>
                <a:lnTo>
                  <a:pt x="948" y="42"/>
                </a:lnTo>
                <a:lnTo>
                  <a:pt x="954" y="54"/>
                </a:lnTo>
                <a:lnTo>
                  <a:pt x="954" y="60"/>
                </a:lnTo>
                <a:lnTo>
                  <a:pt x="966" y="72"/>
                </a:lnTo>
                <a:lnTo>
                  <a:pt x="972" y="72"/>
                </a:lnTo>
                <a:lnTo>
                  <a:pt x="972" y="78"/>
                </a:lnTo>
                <a:lnTo>
                  <a:pt x="978" y="72"/>
                </a:lnTo>
                <a:lnTo>
                  <a:pt x="984" y="72"/>
                </a:lnTo>
                <a:lnTo>
                  <a:pt x="990" y="78"/>
                </a:lnTo>
                <a:lnTo>
                  <a:pt x="996" y="78"/>
                </a:lnTo>
                <a:lnTo>
                  <a:pt x="1002" y="78"/>
                </a:lnTo>
                <a:lnTo>
                  <a:pt x="1008" y="72"/>
                </a:lnTo>
                <a:lnTo>
                  <a:pt x="1020" y="66"/>
                </a:lnTo>
                <a:lnTo>
                  <a:pt x="1026" y="54"/>
                </a:lnTo>
                <a:lnTo>
                  <a:pt x="1026" y="48"/>
                </a:lnTo>
                <a:lnTo>
                  <a:pt x="1032" y="48"/>
                </a:lnTo>
                <a:lnTo>
                  <a:pt x="1044" y="42"/>
                </a:lnTo>
                <a:lnTo>
                  <a:pt x="1050" y="48"/>
                </a:lnTo>
                <a:lnTo>
                  <a:pt x="1056" y="48"/>
                </a:lnTo>
                <a:lnTo>
                  <a:pt x="1062" y="48"/>
                </a:lnTo>
                <a:lnTo>
                  <a:pt x="1068" y="54"/>
                </a:lnTo>
                <a:lnTo>
                  <a:pt x="1068" y="60"/>
                </a:lnTo>
                <a:lnTo>
                  <a:pt x="1074" y="60"/>
                </a:lnTo>
                <a:lnTo>
                  <a:pt x="1080" y="66"/>
                </a:lnTo>
                <a:lnTo>
                  <a:pt x="1092" y="66"/>
                </a:lnTo>
                <a:lnTo>
                  <a:pt x="1098" y="72"/>
                </a:lnTo>
                <a:lnTo>
                  <a:pt x="1098" y="78"/>
                </a:lnTo>
                <a:lnTo>
                  <a:pt x="1104" y="84"/>
                </a:lnTo>
                <a:lnTo>
                  <a:pt x="1110" y="78"/>
                </a:lnTo>
                <a:lnTo>
                  <a:pt x="1116" y="78"/>
                </a:lnTo>
                <a:lnTo>
                  <a:pt x="1122" y="84"/>
                </a:lnTo>
                <a:lnTo>
                  <a:pt x="1128" y="96"/>
                </a:lnTo>
                <a:lnTo>
                  <a:pt x="1128" y="102"/>
                </a:lnTo>
                <a:lnTo>
                  <a:pt x="1116" y="114"/>
                </a:lnTo>
                <a:lnTo>
                  <a:pt x="1110" y="120"/>
                </a:lnTo>
                <a:lnTo>
                  <a:pt x="1110" y="126"/>
                </a:lnTo>
                <a:lnTo>
                  <a:pt x="1104" y="132"/>
                </a:lnTo>
                <a:lnTo>
                  <a:pt x="1104" y="138"/>
                </a:lnTo>
                <a:lnTo>
                  <a:pt x="1110" y="150"/>
                </a:lnTo>
                <a:lnTo>
                  <a:pt x="1116" y="150"/>
                </a:lnTo>
                <a:lnTo>
                  <a:pt x="1116" y="156"/>
                </a:lnTo>
                <a:lnTo>
                  <a:pt x="1122" y="156"/>
                </a:lnTo>
                <a:lnTo>
                  <a:pt x="1134" y="150"/>
                </a:lnTo>
                <a:lnTo>
                  <a:pt x="1140" y="150"/>
                </a:lnTo>
                <a:lnTo>
                  <a:pt x="1140" y="138"/>
                </a:lnTo>
                <a:lnTo>
                  <a:pt x="1140" y="132"/>
                </a:lnTo>
                <a:lnTo>
                  <a:pt x="1146" y="126"/>
                </a:lnTo>
                <a:lnTo>
                  <a:pt x="1152" y="120"/>
                </a:lnTo>
                <a:lnTo>
                  <a:pt x="1164" y="126"/>
                </a:lnTo>
                <a:lnTo>
                  <a:pt x="1170" y="132"/>
                </a:lnTo>
                <a:lnTo>
                  <a:pt x="1176" y="132"/>
                </a:lnTo>
                <a:lnTo>
                  <a:pt x="1182" y="132"/>
                </a:lnTo>
                <a:lnTo>
                  <a:pt x="1182" y="126"/>
                </a:lnTo>
                <a:lnTo>
                  <a:pt x="1188" y="114"/>
                </a:lnTo>
                <a:lnTo>
                  <a:pt x="1194" y="108"/>
                </a:lnTo>
                <a:lnTo>
                  <a:pt x="1194" y="102"/>
                </a:lnTo>
                <a:lnTo>
                  <a:pt x="1200" y="96"/>
                </a:lnTo>
                <a:lnTo>
                  <a:pt x="1200" y="102"/>
                </a:lnTo>
                <a:lnTo>
                  <a:pt x="1200" y="114"/>
                </a:lnTo>
                <a:lnTo>
                  <a:pt x="1206" y="114"/>
                </a:lnTo>
                <a:lnTo>
                  <a:pt x="1212" y="114"/>
                </a:lnTo>
                <a:lnTo>
                  <a:pt x="1212" y="108"/>
                </a:lnTo>
                <a:lnTo>
                  <a:pt x="1218" y="108"/>
                </a:lnTo>
                <a:lnTo>
                  <a:pt x="1224" y="108"/>
                </a:lnTo>
                <a:lnTo>
                  <a:pt x="1230" y="108"/>
                </a:lnTo>
                <a:lnTo>
                  <a:pt x="1230" y="114"/>
                </a:lnTo>
                <a:lnTo>
                  <a:pt x="1236" y="120"/>
                </a:lnTo>
                <a:lnTo>
                  <a:pt x="1242" y="120"/>
                </a:lnTo>
                <a:lnTo>
                  <a:pt x="1248" y="114"/>
                </a:lnTo>
                <a:lnTo>
                  <a:pt x="1260" y="120"/>
                </a:lnTo>
                <a:lnTo>
                  <a:pt x="1260" y="126"/>
                </a:lnTo>
                <a:lnTo>
                  <a:pt x="1266" y="138"/>
                </a:lnTo>
                <a:lnTo>
                  <a:pt x="1272" y="144"/>
                </a:lnTo>
                <a:lnTo>
                  <a:pt x="1284" y="150"/>
                </a:lnTo>
                <a:lnTo>
                  <a:pt x="1284" y="156"/>
                </a:lnTo>
                <a:lnTo>
                  <a:pt x="1278" y="162"/>
                </a:lnTo>
                <a:lnTo>
                  <a:pt x="1278" y="168"/>
                </a:lnTo>
                <a:lnTo>
                  <a:pt x="1272" y="174"/>
                </a:lnTo>
                <a:lnTo>
                  <a:pt x="1266" y="180"/>
                </a:lnTo>
                <a:lnTo>
                  <a:pt x="1266" y="186"/>
                </a:lnTo>
                <a:lnTo>
                  <a:pt x="1266" y="192"/>
                </a:lnTo>
                <a:lnTo>
                  <a:pt x="1272" y="192"/>
                </a:lnTo>
                <a:lnTo>
                  <a:pt x="1278" y="186"/>
                </a:lnTo>
                <a:lnTo>
                  <a:pt x="1284" y="186"/>
                </a:lnTo>
                <a:lnTo>
                  <a:pt x="1302" y="180"/>
                </a:lnTo>
                <a:lnTo>
                  <a:pt x="1308" y="174"/>
                </a:lnTo>
                <a:lnTo>
                  <a:pt x="1314" y="168"/>
                </a:lnTo>
                <a:lnTo>
                  <a:pt x="1320" y="168"/>
                </a:lnTo>
                <a:lnTo>
                  <a:pt x="1326" y="156"/>
                </a:lnTo>
                <a:lnTo>
                  <a:pt x="1332" y="150"/>
                </a:lnTo>
                <a:lnTo>
                  <a:pt x="1326" y="132"/>
                </a:lnTo>
                <a:lnTo>
                  <a:pt x="1344" y="132"/>
                </a:lnTo>
                <a:lnTo>
                  <a:pt x="1344" y="126"/>
                </a:lnTo>
                <a:lnTo>
                  <a:pt x="1350" y="114"/>
                </a:lnTo>
                <a:lnTo>
                  <a:pt x="1356" y="102"/>
                </a:lnTo>
                <a:lnTo>
                  <a:pt x="1362" y="102"/>
                </a:lnTo>
                <a:lnTo>
                  <a:pt x="1368" y="108"/>
                </a:lnTo>
                <a:lnTo>
                  <a:pt x="1374" y="102"/>
                </a:lnTo>
                <a:lnTo>
                  <a:pt x="1374" y="96"/>
                </a:lnTo>
                <a:lnTo>
                  <a:pt x="1380" y="90"/>
                </a:lnTo>
                <a:lnTo>
                  <a:pt x="1386" y="90"/>
                </a:lnTo>
                <a:lnTo>
                  <a:pt x="1386" y="84"/>
                </a:lnTo>
                <a:lnTo>
                  <a:pt x="1392" y="90"/>
                </a:lnTo>
                <a:lnTo>
                  <a:pt x="1398" y="90"/>
                </a:lnTo>
                <a:lnTo>
                  <a:pt x="1398" y="84"/>
                </a:lnTo>
                <a:lnTo>
                  <a:pt x="1410" y="84"/>
                </a:lnTo>
                <a:lnTo>
                  <a:pt x="1410" y="72"/>
                </a:lnTo>
                <a:lnTo>
                  <a:pt x="1422" y="72"/>
                </a:lnTo>
                <a:lnTo>
                  <a:pt x="1434" y="78"/>
                </a:lnTo>
                <a:lnTo>
                  <a:pt x="1440" y="84"/>
                </a:lnTo>
                <a:lnTo>
                  <a:pt x="1446" y="90"/>
                </a:lnTo>
                <a:lnTo>
                  <a:pt x="1446" y="84"/>
                </a:lnTo>
                <a:lnTo>
                  <a:pt x="1452" y="84"/>
                </a:lnTo>
                <a:lnTo>
                  <a:pt x="1452" y="78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66" name="Freeform 10"/>
          <p:cNvSpPr>
            <a:spLocks/>
          </p:cNvSpPr>
          <p:nvPr/>
        </p:nvSpPr>
        <p:spPr bwMode="gray">
          <a:xfrm>
            <a:off x="90488" y="3683000"/>
            <a:ext cx="1463675" cy="1489075"/>
          </a:xfrm>
          <a:custGeom>
            <a:avLst/>
            <a:gdLst>
              <a:gd name="T0" fmla="*/ 104721 w 1518"/>
              <a:gd name="T1" fmla="*/ 12243 h 1548"/>
              <a:gd name="T2" fmla="*/ 104721 w 1518"/>
              <a:gd name="T3" fmla="*/ 18773 h 1548"/>
              <a:gd name="T4" fmla="*/ 103903 w 1518"/>
              <a:gd name="T5" fmla="*/ 30199 h 1548"/>
              <a:gd name="T6" fmla="*/ 104721 w 1518"/>
              <a:gd name="T7" fmla="*/ 41626 h 1548"/>
              <a:gd name="T8" fmla="*/ 105539 w 1518"/>
              <a:gd name="T9" fmla="*/ 52237 h 1548"/>
              <a:gd name="T10" fmla="*/ 93267 w 1518"/>
              <a:gd name="T11" fmla="*/ 57950 h 1548"/>
              <a:gd name="T12" fmla="*/ 87540 w 1518"/>
              <a:gd name="T13" fmla="*/ 62031 h 1548"/>
              <a:gd name="T14" fmla="*/ 86722 w 1518"/>
              <a:gd name="T15" fmla="*/ 66928 h 1548"/>
              <a:gd name="T16" fmla="*/ 79359 w 1518"/>
              <a:gd name="T17" fmla="*/ 69377 h 1548"/>
              <a:gd name="T18" fmla="*/ 70360 w 1518"/>
              <a:gd name="T19" fmla="*/ 70193 h 1548"/>
              <a:gd name="T20" fmla="*/ 66269 w 1518"/>
              <a:gd name="T21" fmla="*/ 77539 h 1548"/>
              <a:gd name="T22" fmla="*/ 55633 w 1518"/>
              <a:gd name="T23" fmla="*/ 77539 h 1548"/>
              <a:gd name="T24" fmla="*/ 49088 w 1518"/>
              <a:gd name="T25" fmla="*/ 83252 h 1548"/>
              <a:gd name="T26" fmla="*/ 44997 w 1518"/>
              <a:gd name="T27" fmla="*/ 92230 h 1548"/>
              <a:gd name="T28" fmla="*/ 39270 w 1518"/>
              <a:gd name="T29" fmla="*/ 97944 h 1548"/>
              <a:gd name="T30" fmla="*/ 29453 w 1518"/>
              <a:gd name="T31" fmla="*/ 102025 h 1548"/>
              <a:gd name="T32" fmla="*/ 28635 w 1518"/>
              <a:gd name="T33" fmla="*/ 106106 h 1548"/>
              <a:gd name="T34" fmla="*/ 26180 w 1518"/>
              <a:gd name="T35" fmla="*/ 111819 h 1548"/>
              <a:gd name="T36" fmla="*/ 23726 w 1518"/>
              <a:gd name="T37" fmla="*/ 108554 h 1548"/>
              <a:gd name="T38" fmla="*/ 22090 w 1518"/>
              <a:gd name="T39" fmla="*/ 105289 h 1548"/>
              <a:gd name="T40" fmla="*/ 20453 w 1518"/>
              <a:gd name="T41" fmla="*/ 101208 h 1548"/>
              <a:gd name="T42" fmla="*/ 22908 w 1518"/>
              <a:gd name="T43" fmla="*/ 98760 h 1548"/>
              <a:gd name="T44" fmla="*/ 23726 w 1518"/>
              <a:gd name="T45" fmla="*/ 94679 h 1548"/>
              <a:gd name="T46" fmla="*/ 20453 w 1518"/>
              <a:gd name="T47" fmla="*/ 92230 h 1548"/>
              <a:gd name="T48" fmla="*/ 17181 w 1518"/>
              <a:gd name="T49" fmla="*/ 89782 h 1548"/>
              <a:gd name="T50" fmla="*/ 13090 w 1518"/>
              <a:gd name="T51" fmla="*/ 89782 h 1548"/>
              <a:gd name="T52" fmla="*/ 8999 w 1518"/>
              <a:gd name="T53" fmla="*/ 91414 h 1548"/>
              <a:gd name="T54" fmla="*/ 4909 w 1518"/>
              <a:gd name="T55" fmla="*/ 93863 h 1548"/>
              <a:gd name="T56" fmla="*/ 0 w 1518"/>
              <a:gd name="T57" fmla="*/ 92230 h 1548"/>
              <a:gd name="T58" fmla="*/ 4091 w 1518"/>
              <a:gd name="T59" fmla="*/ 86517 h 1548"/>
              <a:gd name="T60" fmla="*/ 6545 w 1518"/>
              <a:gd name="T61" fmla="*/ 83252 h 1548"/>
              <a:gd name="T62" fmla="*/ 9818 w 1518"/>
              <a:gd name="T63" fmla="*/ 81620 h 1548"/>
              <a:gd name="T64" fmla="*/ 11454 w 1518"/>
              <a:gd name="T65" fmla="*/ 79171 h 1548"/>
              <a:gd name="T66" fmla="*/ 15545 w 1518"/>
              <a:gd name="T67" fmla="*/ 71825 h 1548"/>
              <a:gd name="T68" fmla="*/ 19635 w 1518"/>
              <a:gd name="T69" fmla="*/ 71009 h 1548"/>
              <a:gd name="T70" fmla="*/ 23726 w 1518"/>
              <a:gd name="T71" fmla="*/ 71009 h 1548"/>
              <a:gd name="T72" fmla="*/ 31089 w 1518"/>
              <a:gd name="T73" fmla="*/ 70193 h 1548"/>
              <a:gd name="T74" fmla="*/ 35180 w 1518"/>
              <a:gd name="T75" fmla="*/ 71009 h 1548"/>
              <a:gd name="T76" fmla="*/ 35998 w 1518"/>
              <a:gd name="T77" fmla="*/ 68561 h 1548"/>
              <a:gd name="T78" fmla="*/ 31907 w 1518"/>
              <a:gd name="T79" fmla="*/ 66112 h 1548"/>
              <a:gd name="T80" fmla="*/ 33544 w 1518"/>
              <a:gd name="T81" fmla="*/ 63663 h 1548"/>
              <a:gd name="T82" fmla="*/ 34362 w 1518"/>
              <a:gd name="T83" fmla="*/ 60399 h 1548"/>
              <a:gd name="T84" fmla="*/ 31907 w 1518"/>
              <a:gd name="T85" fmla="*/ 56318 h 1548"/>
              <a:gd name="T86" fmla="*/ 37634 w 1518"/>
              <a:gd name="T87" fmla="*/ 49788 h 1548"/>
              <a:gd name="T88" fmla="*/ 29453 w 1518"/>
              <a:gd name="T89" fmla="*/ 48972 h 1548"/>
              <a:gd name="T90" fmla="*/ 26998 w 1518"/>
              <a:gd name="T91" fmla="*/ 44075 h 1548"/>
              <a:gd name="T92" fmla="*/ 27817 w 1518"/>
              <a:gd name="T93" fmla="*/ 38361 h 1548"/>
              <a:gd name="T94" fmla="*/ 29453 w 1518"/>
              <a:gd name="T95" fmla="*/ 33464 h 1548"/>
              <a:gd name="T96" fmla="*/ 30271 w 1518"/>
              <a:gd name="T97" fmla="*/ 25302 h 1548"/>
              <a:gd name="T98" fmla="*/ 26998 w 1518"/>
              <a:gd name="T99" fmla="*/ 22037 h 1548"/>
              <a:gd name="T100" fmla="*/ 27817 w 1518"/>
              <a:gd name="T101" fmla="*/ 17956 h 1548"/>
              <a:gd name="T102" fmla="*/ 26998 w 1518"/>
              <a:gd name="T103" fmla="*/ 11427 h 1548"/>
              <a:gd name="T104" fmla="*/ 30271 w 1518"/>
              <a:gd name="T105" fmla="*/ 13059 h 1548"/>
              <a:gd name="T106" fmla="*/ 32725 w 1518"/>
              <a:gd name="T107" fmla="*/ 11427 h 1548"/>
              <a:gd name="T108" fmla="*/ 38452 w 1518"/>
              <a:gd name="T109" fmla="*/ 10611 h 1548"/>
              <a:gd name="T110" fmla="*/ 40907 w 1518"/>
              <a:gd name="T111" fmla="*/ 8162 h 1548"/>
              <a:gd name="T112" fmla="*/ 45816 w 1518"/>
              <a:gd name="T113" fmla="*/ 4081 h 1548"/>
              <a:gd name="T114" fmla="*/ 53997 w 1518"/>
              <a:gd name="T115" fmla="*/ 9794 h 1548"/>
              <a:gd name="T116" fmla="*/ 65451 w 1518"/>
              <a:gd name="T117" fmla="*/ 3265 h 1548"/>
              <a:gd name="T118" fmla="*/ 73632 w 1518"/>
              <a:gd name="T119" fmla="*/ 7346 h 1548"/>
              <a:gd name="T120" fmla="*/ 80177 w 1518"/>
              <a:gd name="T121" fmla="*/ 4081 h 1548"/>
              <a:gd name="T122" fmla="*/ 87540 w 1518"/>
              <a:gd name="T123" fmla="*/ 816 h 1548"/>
              <a:gd name="T124" fmla="*/ 92449 w 1518"/>
              <a:gd name="T125" fmla="*/ 4081 h 154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518" h="1548">
                <a:moveTo>
                  <a:pt x="1338" y="18"/>
                </a:moveTo>
                <a:lnTo>
                  <a:pt x="1338" y="36"/>
                </a:lnTo>
                <a:lnTo>
                  <a:pt x="1350" y="36"/>
                </a:lnTo>
                <a:lnTo>
                  <a:pt x="1368" y="84"/>
                </a:lnTo>
                <a:lnTo>
                  <a:pt x="1386" y="102"/>
                </a:lnTo>
                <a:lnTo>
                  <a:pt x="1404" y="114"/>
                </a:lnTo>
                <a:lnTo>
                  <a:pt x="1410" y="120"/>
                </a:lnTo>
                <a:lnTo>
                  <a:pt x="1392" y="126"/>
                </a:lnTo>
                <a:lnTo>
                  <a:pt x="1416" y="162"/>
                </a:lnTo>
                <a:lnTo>
                  <a:pt x="1428" y="156"/>
                </a:lnTo>
                <a:lnTo>
                  <a:pt x="1428" y="168"/>
                </a:lnTo>
                <a:lnTo>
                  <a:pt x="1434" y="174"/>
                </a:lnTo>
                <a:lnTo>
                  <a:pt x="1458" y="180"/>
                </a:lnTo>
                <a:lnTo>
                  <a:pt x="1476" y="192"/>
                </a:lnTo>
                <a:lnTo>
                  <a:pt x="1494" y="192"/>
                </a:lnTo>
                <a:lnTo>
                  <a:pt x="1506" y="204"/>
                </a:lnTo>
                <a:lnTo>
                  <a:pt x="1512" y="210"/>
                </a:lnTo>
                <a:lnTo>
                  <a:pt x="1518" y="216"/>
                </a:lnTo>
                <a:lnTo>
                  <a:pt x="1494" y="234"/>
                </a:lnTo>
                <a:lnTo>
                  <a:pt x="1476" y="240"/>
                </a:lnTo>
                <a:lnTo>
                  <a:pt x="1470" y="240"/>
                </a:lnTo>
                <a:lnTo>
                  <a:pt x="1446" y="246"/>
                </a:lnTo>
                <a:lnTo>
                  <a:pt x="1440" y="252"/>
                </a:lnTo>
                <a:lnTo>
                  <a:pt x="1434" y="258"/>
                </a:lnTo>
                <a:lnTo>
                  <a:pt x="1422" y="282"/>
                </a:lnTo>
                <a:lnTo>
                  <a:pt x="1428" y="294"/>
                </a:lnTo>
                <a:lnTo>
                  <a:pt x="1428" y="306"/>
                </a:lnTo>
                <a:lnTo>
                  <a:pt x="1428" y="312"/>
                </a:lnTo>
                <a:lnTo>
                  <a:pt x="1422" y="312"/>
                </a:lnTo>
                <a:lnTo>
                  <a:pt x="1422" y="324"/>
                </a:lnTo>
                <a:lnTo>
                  <a:pt x="1422" y="330"/>
                </a:lnTo>
                <a:lnTo>
                  <a:pt x="1416" y="348"/>
                </a:lnTo>
                <a:lnTo>
                  <a:pt x="1416" y="366"/>
                </a:lnTo>
                <a:lnTo>
                  <a:pt x="1416" y="378"/>
                </a:lnTo>
                <a:lnTo>
                  <a:pt x="1416" y="384"/>
                </a:lnTo>
                <a:lnTo>
                  <a:pt x="1422" y="414"/>
                </a:lnTo>
                <a:lnTo>
                  <a:pt x="1434" y="450"/>
                </a:lnTo>
                <a:lnTo>
                  <a:pt x="1440" y="462"/>
                </a:lnTo>
                <a:lnTo>
                  <a:pt x="1452" y="462"/>
                </a:lnTo>
                <a:lnTo>
                  <a:pt x="1446" y="486"/>
                </a:lnTo>
                <a:lnTo>
                  <a:pt x="1440" y="504"/>
                </a:lnTo>
                <a:lnTo>
                  <a:pt x="1440" y="522"/>
                </a:lnTo>
                <a:lnTo>
                  <a:pt x="1440" y="528"/>
                </a:lnTo>
                <a:lnTo>
                  <a:pt x="1434" y="534"/>
                </a:lnTo>
                <a:lnTo>
                  <a:pt x="1428" y="540"/>
                </a:lnTo>
                <a:lnTo>
                  <a:pt x="1446" y="546"/>
                </a:lnTo>
                <a:lnTo>
                  <a:pt x="1440" y="558"/>
                </a:lnTo>
                <a:lnTo>
                  <a:pt x="1434" y="570"/>
                </a:lnTo>
                <a:lnTo>
                  <a:pt x="1434" y="582"/>
                </a:lnTo>
                <a:lnTo>
                  <a:pt x="1440" y="600"/>
                </a:lnTo>
                <a:lnTo>
                  <a:pt x="1440" y="606"/>
                </a:lnTo>
                <a:lnTo>
                  <a:pt x="1446" y="618"/>
                </a:lnTo>
                <a:lnTo>
                  <a:pt x="1452" y="636"/>
                </a:lnTo>
                <a:lnTo>
                  <a:pt x="1458" y="648"/>
                </a:lnTo>
                <a:lnTo>
                  <a:pt x="1458" y="660"/>
                </a:lnTo>
                <a:lnTo>
                  <a:pt x="1458" y="678"/>
                </a:lnTo>
                <a:lnTo>
                  <a:pt x="1464" y="690"/>
                </a:lnTo>
                <a:lnTo>
                  <a:pt x="1464" y="702"/>
                </a:lnTo>
                <a:lnTo>
                  <a:pt x="1458" y="714"/>
                </a:lnTo>
                <a:lnTo>
                  <a:pt x="1452" y="726"/>
                </a:lnTo>
                <a:lnTo>
                  <a:pt x="1446" y="732"/>
                </a:lnTo>
                <a:lnTo>
                  <a:pt x="1440" y="744"/>
                </a:lnTo>
                <a:lnTo>
                  <a:pt x="1434" y="744"/>
                </a:lnTo>
                <a:lnTo>
                  <a:pt x="1410" y="732"/>
                </a:lnTo>
                <a:lnTo>
                  <a:pt x="1392" y="744"/>
                </a:lnTo>
                <a:lnTo>
                  <a:pt x="1380" y="738"/>
                </a:lnTo>
                <a:lnTo>
                  <a:pt x="1368" y="744"/>
                </a:lnTo>
                <a:lnTo>
                  <a:pt x="1356" y="744"/>
                </a:lnTo>
                <a:lnTo>
                  <a:pt x="1332" y="774"/>
                </a:lnTo>
                <a:lnTo>
                  <a:pt x="1320" y="774"/>
                </a:lnTo>
                <a:lnTo>
                  <a:pt x="1278" y="780"/>
                </a:lnTo>
                <a:lnTo>
                  <a:pt x="1284" y="798"/>
                </a:lnTo>
                <a:lnTo>
                  <a:pt x="1284" y="810"/>
                </a:lnTo>
                <a:lnTo>
                  <a:pt x="1284" y="852"/>
                </a:lnTo>
                <a:lnTo>
                  <a:pt x="1260" y="840"/>
                </a:lnTo>
                <a:lnTo>
                  <a:pt x="1248" y="858"/>
                </a:lnTo>
                <a:lnTo>
                  <a:pt x="1236" y="828"/>
                </a:lnTo>
                <a:lnTo>
                  <a:pt x="1212" y="834"/>
                </a:lnTo>
                <a:lnTo>
                  <a:pt x="1212" y="828"/>
                </a:lnTo>
                <a:lnTo>
                  <a:pt x="1206" y="828"/>
                </a:lnTo>
                <a:lnTo>
                  <a:pt x="1200" y="828"/>
                </a:lnTo>
                <a:lnTo>
                  <a:pt x="1188" y="834"/>
                </a:lnTo>
                <a:lnTo>
                  <a:pt x="1200" y="852"/>
                </a:lnTo>
                <a:lnTo>
                  <a:pt x="1206" y="858"/>
                </a:lnTo>
                <a:lnTo>
                  <a:pt x="1206" y="864"/>
                </a:lnTo>
                <a:lnTo>
                  <a:pt x="1206" y="870"/>
                </a:lnTo>
                <a:lnTo>
                  <a:pt x="1206" y="876"/>
                </a:lnTo>
                <a:lnTo>
                  <a:pt x="1218" y="894"/>
                </a:lnTo>
                <a:lnTo>
                  <a:pt x="1218" y="900"/>
                </a:lnTo>
                <a:lnTo>
                  <a:pt x="1224" y="906"/>
                </a:lnTo>
                <a:lnTo>
                  <a:pt x="1224" y="918"/>
                </a:lnTo>
                <a:lnTo>
                  <a:pt x="1224" y="924"/>
                </a:lnTo>
                <a:lnTo>
                  <a:pt x="1218" y="918"/>
                </a:lnTo>
                <a:lnTo>
                  <a:pt x="1212" y="918"/>
                </a:lnTo>
                <a:lnTo>
                  <a:pt x="1212" y="906"/>
                </a:lnTo>
                <a:lnTo>
                  <a:pt x="1194" y="930"/>
                </a:lnTo>
                <a:lnTo>
                  <a:pt x="1188" y="930"/>
                </a:lnTo>
                <a:lnTo>
                  <a:pt x="1188" y="936"/>
                </a:lnTo>
                <a:lnTo>
                  <a:pt x="1188" y="942"/>
                </a:lnTo>
                <a:lnTo>
                  <a:pt x="1182" y="954"/>
                </a:lnTo>
                <a:lnTo>
                  <a:pt x="1188" y="960"/>
                </a:lnTo>
                <a:lnTo>
                  <a:pt x="1182" y="972"/>
                </a:lnTo>
                <a:lnTo>
                  <a:pt x="1170" y="972"/>
                </a:lnTo>
                <a:lnTo>
                  <a:pt x="1164" y="978"/>
                </a:lnTo>
                <a:lnTo>
                  <a:pt x="1116" y="984"/>
                </a:lnTo>
                <a:lnTo>
                  <a:pt x="1104" y="984"/>
                </a:lnTo>
                <a:lnTo>
                  <a:pt x="1098" y="984"/>
                </a:lnTo>
                <a:lnTo>
                  <a:pt x="1092" y="960"/>
                </a:lnTo>
                <a:lnTo>
                  <a:pt x="1086" y="960"/>
                </a:lnTo>
                <a:lnTo>
                  <a:pt x="1062" y="960"/>
                </a:lnTo>
                <a:lnTo>
                  <a:pt x="1056" y="972"/>
                </a:lnTo>
                <a:lnTo>
                  <a:pt x="1032" y="978"/>
                </a:lnTo>
                <a:lnTo>
                  <a:pt x="1032" y="972"/>
                </a:lnTo>
                <a:lnTo>
                  <a:pt x="1008" y="978"/>
                </a:lnTo>
                <a:lnTo>
                  <a:pt x="1002" y="978"/>
                </a:lnTo>
                <a:lnTo>
                  <a:pt x="990" y="978"/>
                </a:lnTo>
                <a:lnTo>
                  <a:pt x="984" y="978"/>
                </a:lnTo>
                <a:lnTo>
                  <a:pt x="978" y="972"/>
                </a:lnTo>
                <a:lnTo>
                  <a:pt x="972" y="972"/>
                </a:lnTo>
                <a:lnTo>
                  <a:pt x="966" y="972"/>
                </a:lnTo>
                <a:lnTo>
                  <a:pt x="960" y="984"/>
                </a:lnTo>
                <a:lnTo>
                  <a:pt x="942" y="1008"/>
                </a:lnTo>
                <a:lnTo>
                  <a:pt x="948" y="1014"/>
                </a:lnTo>
                <a:lnTo>
                  <a:pt x="948" y="1026"/>
                </a:lnTo>
                <a:lnTo>
                  <a:pt x="948" y="1038"/>
                </a:lnTo>
                <a:lnTo>
                  <a:pt x="942" y="1038"/>
                </a:lnTo>
                <a:lnTo>
                  <a:pt x="930" y="1044"/>
                </a:lnTo>
                <a:lnTo>
                  <a:pt x="918" y="1044"/>
                </a:lnTo>
                <a:lnTo>
                  <a:pt x="912" y="1050"/>
                </a:lnTo>
                <a:lnTo>
                  <a:pt x="912" y="1056"/>
                </a:lnTo>
                <a:lnTo>
                  <a:pt x="906" y="1056"/>
                </a:lnTo>
                <a:lnTo>
                  <a:pt x="912" y="1074"/>
                </a:lnTo>
                <a:lnTo>
                  <a:pt x="900" y="1080"/>
                </a:lnTo>
                <a:lnTo>
                  <a:pt x="876" y="1080"/>
                </a:lnTo>
                <a:lnTo>
                  <a:pt x="858" y="1074"/>
                </a:lnTo>
                <a:lnTo>
                  <a:pt x="852" y="1074"/>
                </a:lnTo>
                <a:lnTo>
                  <a:pt x="840" y="1074"/>
                </a:lnTo>
                <a:lnTo>
                  <a:pt x="834" y="1074"/>
                </a:lnTo>
                <a:lnTo>
                  <a:pt x="822" y="1080"/>
                </a:lnTo>
                <a:lnTo>
                  <a:pt x="816" y="1080"/>
                </a:lnTo>
                <a:lnTo>
                  <a:pt x="804" y="1080"/>
                </a:lnTo>
                <a:lnTo>
                  <a:pt x="786" y="1080"/>
                </a:lnTo>
                <a:lnTo>
                  <a:pt x="774" y="1074"/>
                </a:lnTo>
                <a:lnTo>
                  <a:pt x="768" y="1074"/>
                </a:lnTo>
                <a:lnTo>
                  <a:pt x="762" y="1080"/>
                </a:lnTo>
                <a:lnTo>
                  <a:pt x="750" y="1086"/>
                </a:lnTo>
                <a:lnTo>
                  <a:pt x="744" y="1086"/>
                </a:lnTo>
                <a:lnTo>
                  <a:pt x="744" y="1098"/>
                </a:lnTo>
                <a:lnTo>
                  <a:pt x="738" y="1098"/>
                </a:lnTo>
                <a:lnTo>
                  <a:pt x="732" y="1098"/>
                </a:lnTo>
                <a:lnTo>
                  <a:pt x="720" y="1104"/>
                </a:lnTo>
                <a:lnTo>
                  <a:pt x="714" y="1104"/>
                </a:lnTo>
                <a:lnTo>
                  <a:pt x="690" y="1104"/>
                </a:lnTo>
                <a:lnTo>
                  <a:pt x="678" y="1140"/>
                </a:lnTo>
                <a:lnTo>
                  <a:pt x="678" y="1146"/>
                </a:lnTo>
                <a:lnTo>
                  <a:pt x="672" y="1152"/>
                </a:lnTo>
                <a:lnTo>
                  <a:pt x="666" y="1158"/>
                </a:lnTo>
                <a:lnTo>
                  <a:pt x="660" y="1176"/>
                </a:lnTo>
                <a:lnTo>
                  <a:pt x="648" y="1188"/>
                </a:lnTo>
                <a:lnTo>
                  <a:pt x="642" y="1200"/>
                </a:lnTo>
                <a:lnTo>
                  <a:pt x="636" y="1212"/>
                </a:lnTo>
                <a:lnTo>
                  <a:pt x="624" y="1224"/>
                </a:lnTo>
                <a:lnTo>
                  <a:pt x="618" y="1236"/>
                </a:lnTo>
                <a:lnTo>
                  <a:pt x="618" y="1248"/>
                </a:lnTo>
                <a:lnTo>
                  <a:pt x="618" y="1254"/>
                </a:lnTo>
                <a:lnTo>
                  <a:pt x="618" y="1260"/>
                </a:lnTo>
                <a:lnTo>
                  <a:pt x="618" y="1266"/>
                </a:lnTo>
                <a:lnTo>
                  <a:pt x="618" y="1278"/>
                </a:lnTo>
                <a:lnTo>
                  <a:pt x="582" y="1278"/>
                </a:lnTo>
                <a:lnTo>
                  <a:pt x="570" y="1278"/>
                </a:lnTo>
                <a:lnTo>
                  <a:pt x="564" y="1284"/>
                </a:lnTo>
                <a:lnTo>
                  <a:pt x="552" y="1284"/>
                </a:lnTo>
                <a:lnTo>
                  <a:pt x="540" y="1290"/>
                </a:lnTo>
                <a:lnTo>
                  <a:pt x="528" y="1296"/>
                </a:lnTo>
                <a:lnTo>
                  <a:pt x="540" y="1308"/>
                </a:lnTo>
                <a:lnTo>
                  <a:pt x="540" y="1320"/>
                </a:lnTo>
                <a:lnTo>
                  <a:pt x="540" y="1332"/>
                </a:lnTo>
                <a:lnTo>
                  <a:pt x="552" y="1338"/>
                </a:lnTo>
                <a:lnTo>
                  <a:pt x="546" y="1344"/>
                </a:lnTo>
                <a:lnTo>
                  <a:pt x="540" y="1356"/>
                </a:lnTo>
                <a:lnTo>
                  <a:pt x="528" y="1356"/>
                </a:lnTo>
                <a:lnTo>
                  <a:pt x="522" y="1374"/>
                </a:lnTo>
                <a:lnTo>
                  <a:pt x="516" y="1386"/>
                </a:lnTo>
                <a:lnTo>
                  <a:pt x="504" y="1392"/>
                </a:lnTo>
                <a:lnTo>
                  <a:pt x="498" y="1392"/>
                </a:lnTo>
                <a:lnTo>
                  <a:pt x="480" y="1404"/>
                </a:lnTo>
                <a:lnTo>
                  <a:pt x="474" y="1416"/>
                </a:lnTo>
                <a:lnTo>
                  <a:pt x="462" y="1428"/>
                </a:lnTo>
                <a:lnTo>
                  <a:pt x="444" y="1416"/>
                </a:lnTo>
                <a:lnTo>
                  <a:pt x="420" y="1410"/>
                </a:lnTo>
                <a:lnTo>
                  <a:pt x="414" y="1416"/>
                </a:lnTo>
                <a:lnTo>
                  <a:pt x="408" y="1410"/>
                </a:lnTo>
                <a:lnTo>
                  <a:pt x="396" y="1404"/>
                </a:lnTo>
                <a:lnTo>
                  <a:pt x="372" y="1404"/>
                </a:lnTo>
                <a:lnTo>
                  <a:pt x="366" y="1422"/>
                </a:lnTo>
                <a:lnTo>
                  <a:pt x="354" y="1428"/>
                </a:lnTo>
                <a:lnTo>
                  <a:pt x="360" y="1446"/>
                </a:lnTo>
                <a:lnTo>
                  <a:pt x="372" y="1440"/>
                </a:lnTo>
                <a:lnTo>
                  <a:pt x="396" y="1422"/>
                </a:lnTo>
                <a:lnTo>
                  <a:pt x="402" y="1434"/>
                </a:lnTo>
                <a:lnTo>
                  <a:pt x="402" y="1440"/>
                </a:lnTo>
                <a:lnTo>
                  <a:pt x="396" y="1446"/>
                </a:lnTo>
                <a:lnTo>
                  <a:pt x="396" y="1458"/>
                </a:lnTo>
                <a:lnTo>
                  <a:pt x="390" y="1464"/>
                </a:lnTo>
                <a:lnTo>
                  <a:pt x="396" y="1482"/>
                </a:lnTo>
                <a:lnTo>
                  <a:pt x="396" y="1488"/>
                </a:lnTo>
                <a:lnTo>
                  <a:pt x="402" y="1506"/>
                </a:lnTo>
                <a:lnTo>
                  <a:pt x="396" y="1518"/>
                </a:lnTo>
                <a:lnTo>
                  <a:pt x="384" y="1542"/>
                </a:lnTo>
                <a:lnTo>
                  <a:pt x="378" y="1542"/>
                </a:lnTo>
                <a:lnTo>
                  <a:pt x="378" y="1530"/>
                </a:lnTo>
                <a:lnTo>
                  <a:pt x="372" y="1536"/>
                </a:lnTo>
                <a:lnTo>
                  <a:pt x="366" y="1542"/>
                </a:lnTo>
                <a:lnTo>
                  <a:pt x="360" y="1542"/>
                </a:lnTo>
                <a:lnTo>
                  <a:pt x="360" y="1548"/>
                </a:lnTo>
                <a:lnTo>
                  <a:pt x="354" y="1542"/>
                </a:lnTo>
                <a:lnTo>
                  <a:pt x="354" y="1536"/>
                </a:lnTo>
                <a:lnTo>
                  <a:pt x="354" y="1530"/>
                </a:lnTo>
                <a:lnTo>
                  <a:pt x="348" y="1530"/>
                </a:lnTo>
                <a:lnTo>
                  <a:pt x="342" y="1530"/>
                </a:lnTo>
                <a:lnTo>
                  <a:pt x="348" y="1530"/>
                </a:lnTo>
                <a:lnTo>
                  <a:pt x="348" y="1524"/>
                </a:lnTo>
                <a:lnTo>
                  <a:pt x="348" y="1518"/>
                </a:lnTo>
                <a:lnTo>
                  <a:pt x="342" y="1512"/>
                </a:lnTo>
                <a:lnTo>
                  <a:pt x="342" y="1506"/>
                </a:lnTo>
                <a:lnTo>
                  <a:pt x="336" y="1506"/>
                </a:lnTo>
                <a:lnTo>
                  <a:pt x="330" y="1500"/>
                </a:lnTo>
                <a:lnTo>
                  <a:pt x="330" y="1494"/>
                </a:lnTo>
                <a:lnTo>
                  <a:pt x="324" y="1494"/>
                </a:lnTo>
                <a:lnTo>
                  <a:pt x="318" y="1488"/>
                </a:lnTo>
                <a:lnTo>
                  <a:pt x="318" y="1482"/>
                </a:lnTo>
                <a:lnTo>
                  <a:pt x="318" y="1488"/>
                </a:lnTo>
                <a:lnTo>
                  <a:pt x="312" y="1482"/>
                </a:lnTo>
                <a:lnTo>
                  <a:pt x="306" y="1482"/>
                </a:lnTo>
                <a:lnTo>
                  <a:pt x="306" y="1476"/>
                </a:lnTo>
                <a:lnTo>
                  <a:pt x="300" y="1476"/>
                </a:lnTo>
                <a:lnTo>
                  <a:pt x="300" y="1470"/>
                </a:lnTo>
                <a:lnTo>
                  <a:pt x="306" y="1464"/>
                </a:lnTo>
                <a:lnTo>
                  <a:pt x="300" y="1464"/>
                </a:lnTo>
                <a:lnTo>
                  <a:pt x="306" y="1458"/>
                </a:lnTo>
                <a:lnTo>
                  <a:pt x="300" y="1458"/>
                </a:lnTo>
                <a:lnTo>
                  <a:pt x="306" y="1452"/>
                </a:lnTo>
                <a:lnTo>
                  <a:pt x="306" y="1446"/>
                </a:lnTo>
                <a:lnTo>
                  <a:pt x="312" y="1440"/>
                </a:lnTo>
                <a:lnTo>
                  <a:pt x="312" y="1434"/>
                </a:lnTo>
                <a:lnTo>
                  <a:pt x="312" y="1428"/>
                </a:lnTo>
                <a:lnTo>
                  <a:pt x="300" y="1428"/>
                </a:lnTo>
                <a:lnTo>
                  <a:pt x="294" y="1428"/>
                </a:lnTo>
                <a:lnTo>
                  <a:pt x="288" y="1428"/>
                </a:lnTo>
                <a:lnTo>
                  <a:pt x="282" y="1416"/>
                </a:lnTo>
                <a:lnTo>
                  <a:pt x="282" y="1410"/>
                </a:lnTo>
                <a:lnTo>
                  <a:pt x="282" y="1404"/>
                </a:lnTo>
                <a:lnTo>
                  <a:pt x="282" y="1398"/>
                </a:lnTo>
                <a:lnTo>
                  <a:pt x="288" y="1398"/>
                </a:lnTo>
                <a:lnTo>
                  <a:pt x="282" y="1392"/>
                </a:lnTo>
                <a:lnTo>
                  <a:pt x="288" y="1392"/>
                </a:lnTo>
                <a:lnTo>
                  <a:pt x="288" y="1386"/>
                </a:lnTo>
                <a:lnTo>
                  <a:pt x="294" y="1386"/>
                </a:lnTo>
                <a:lnTo>
                  <a:pt x="300" y="1380"/>
                </a:lnTo>
                <a:lnTo>
                  <a:pt x="306" y="1380"/>
                </a:lnTo>
                <a:lnTo>
                  <a:pt x="312" y="1380"/>
                </a:lnTo>
                <a:lnTo>
                  <a:pt x="318" y="1374"/>
                </a:lnTo>
                <a:lnTo>
                  <a:pt x="318" y="1368"/>
                </a:lnTo>
                <a:lnTo>
                  <a:pt x="318" y="1362"/>
                </a:lnTo>
                <a:lnTo>
                  <a:pt x="318" y="1356"/>
                </a:lnTo>
                <a:lnTo>
                  <a:pt x="318" y="1350"/>
                </a:lnTo>
                <a:lnTo>
                  <a:pt x="318" y="1344"/>
                </a:lnTo>
                <a:lnTo>
                  <a:pt x="318" y="1338"/>
                </a:lnTo>
                <a:lnTo>
                  <a:pt x="324" y="1338"/>
                </a:lnTo>
                <a:lnTo>
                  <a:pt x="318" y="1332"/>
                </a:lnTo>
                <a:lnTo>
                  <a:pt x="324" y="1332"/>
                </a:lnTo>
                <a:lnTo>
                  <a:pt x="324" y="1326"/>
                </a:lnTo>
                <a:lnTo>
                  <a:pt x="324" y="1320"/>
                </a:lnTo>
                <a:lnTo>
                  <a:pt x="330" y="1320"/>
                </a:lnTo>
                <a:lnTo>
                  <a:pt x="330" y="1314"/>
                </a:lnTo>
                <a:lnTo>
                  <a:pt x="324" y="1308"/>
                </a:lnTo>
                <a:lnTo>
                  <a:pt x="324" y="1302"/>
                </a:lnTo>
                <a:lnTo>
                  <a:pt x="318" y="1296"/>
                </a:lnTo>
                <a:lnTo>
                  <a:pt x="312" y="1296"/>
                </a:lnTo>
                <a:lnTo>
                  <a:pt x="312" y="1290"/>
                </a:lnTo>
                <a:lnTo>
                  <a:pt x="306" y="1290"/>
                </a:lnTo>
                <a:lnTo>
                  <a:pt x="300" y="1296"/>
                </a:lnTo>
                <a:lnTo>
                  <a:pt x="300" y="1290"/>
                </a:lnTo>
                <a:lnTo>
                  <a:pt x="294" y="1290"/>
                </a:lnTo>
                <a:lnTo>
                  <a:pt x="294" y="1284"/>
                </a:lnTo>
                <a:lnTo>
                  <a:pt x="288" y="1284"/>
                </a:lnTo>
                <a:lnTo>
                  <a:pt x="288" y="1278"/>
                </a:lnTo>
                <a:lnTo>
                  <a:pt x="282" y="1272"/>
                </a:lnTo>
                <a:lnTo>
                  <a:pt x="276" y="1272"/>
                </a:lnTo>
                <a:lnTo>
                  <a:pt x="270" y="1272"/>
                </a:lnTo>
                <a:lnTo>
                  <a:pt x="270" y="1266"/>
                </a:lnTo>
                <a:lnTo>
                  <a:pt x="264" y="1266"/>
                </a:lnTo>
                <a:lnTo>
                  <a:pt x="258" y="1266"/>
                </a:lnTo>
                <a:lnTo>
                  <a:pt x="252" y="1260"/>
                </a:lnTo>
                <a:lnTo>
                  <a:pt x="252" y="1266"/>
                </a:lnTo>
                <a:lnTo>
                  <a:pt x="252" y="1260"/>
                </a:lnTo>
                <a:lnTo>
                  <a:pt x="252" y="1254"/>
                </a:lnTo>
                <a:lnTo>
                  <a:pt x="246" y="1248"/>
                </a:lnTo>
                <a:lnTo>
                  <a:pt x="240" y="1248"/>
                </a:lnTo>
                <a:lnTo>
                  <a:pt x="240" y="1242"/>
                </a:lnTo>
                <a:lnTo>
                  <a:pt x="234" y="1242"/>
                </a:lnTo>
                <a:lnTo>
                  <a:pt x="234" y="1248"/>
                </a:lnTo>
                <a:lnTo>
                  <a:pt x="228" y="1248"/>
                </a:lnTo>
                <a:lnTo>
                  <a:pt x="222" y="1248"/>
                </a:lnTo>
                <a:lnTo>
                  <a:pt x="216" y="1248"/>
                </a:lnTo>
                <a:lnTo>
                  <a:pt x="210" y="1248"/>
                </a:lnTo>
                <a:lnTo>
                  <a:pt x="204" y="1248"/>
                </a:lnTo>
                <a:lnTo>
                  <a:pt x="198" y="1248"/>
                </a:lnTo>
                <a:lnTo>
                  <a:pt x="192" y="1248"/>
                </a:lnTo>
                <a:lnTo>
                  <a:pt x="186" y="1248"/>
                </a:lnTo>
                <a:lnTo>
                  <a:pt x="180" y="1248"/>
                </a:lnTo>
                <a:lnTo>
                  <a:pt x="174" y="1242"/>
                </a:lnTo>
                <a:lnTo>
                  <a:pt x="168" y="1242"/>
                </a:lnTo>
                <a:lnTo>
                  <a:pt x="162" y="1242"/>
                </a:lnTo>
                <a:lnTo>
                  <a:pt x="162" y="1248"/>
                </a:lnTo>
                <a:lnTo>
                  <a:pt x="156" y="1248"/>
                </a:lnTo>
                <a:lnTo>
                  <a:pt x="156" y="1254"/>
                </a:lnTo>
                <a:lnTo>
                  <a:pt x="150" y="1254"/>
                </a:lnTo>
                <a:lnTo>
                  <a:pt x="150" y="1260"/>
                </a:lnTo>
                <a:lnTo>
                  <a:pt x="144" y="1260"/>
                </a:lnTo>
                <a:lnTo>
                  <a:pt x="138" y="1260"/>
                </a:lnTo>
                <a:lnTo>
                  <a:pt x="132" y="1260"/>
                </a:lnTo>
                <a:lnTo>
                  <a:pt x="126" y="1260"/>
                </a:lnTo>
                <a:lnTo>
                  <a:pt x="120" y="1266"/>
                </a:lnTo>
                <a:lnTo>
                  <a:pt x="114" y="1266"/>
                </a:lnTo>
                <a:lnTo>
                  <a:pt x="108" y="1266"/>
                </a:lnTo>
                <a:lnTo>
                  <a:pt x="102" y="1272"/>
                </a:lnTo>
                <a:lnTo>
                  <a:pt x="96" y="1272"/>
                </a:lnTo>
                <a:lnTo>
                  <a:pt x="96" y="1278"/>
                </a:lnTo>
                <a:lnTo>
                  <a:pt x="90" y="1284"/>
                </a:lnTo>
                <a:lnTo>
                  <a:pt x="90" y="1290"/>
                </a:lnTo>
                <a:lnTo>
                  <a:pt x="84" y="1290"/>
                </a:lnTo>
                <a:lnTo>
                  <a:pt x="84" y="1284"/>
                </a:lnTo>
                <a:lnTo>
                  <a:pt x="72" y="1284"/>
                </a:lnTo>
                <a:lnTo>
                  <a:pt x="66" y="1290"/>
                </a:lnTo>
                <a:lnTo>
                  <a:pt x="66" y="1296"/>
                </a:lnTo>
                <a:lnTo>
                  <a:pt x="60" y="1296"/>
                </a:lnTo>
                <a:lnTo>
                  <a:pt x="54" y="1296"/>
                </a:lnTo>
                <a:lnTo>
                  <a:pt x="42" y="1296"/>
                </a:lnTo>
                <a:lnTo>
                  <a:pt x="36" y="1296"/>
                </a:lnTo>
                <a:lnTo>
                  <a:pt x="30" y="1296"/>
                </a:lnTo>
                <a:lnTo>
                  <a:pt x="24" y="1296"/>
                </a:lnTo>
                <a:lnTo>
                  <a:pt x="18" y="1284"/>
                </a:lnTo>
                <a:lnTo>
                  <a:pt x="12" y="1284"/>
                </a:lnTo>
                <a:lnTo>
                  <a:pt x="6" y="1284"/>
                </a:lnTo>
                <a:lnTo>
                  <a:pt x="6" y="1278"/>
                </a:lnTo>
                <a:lnTo>
                  <a:pt x="6" y="1272"/>
                </a:lnTo>
                <a:lnTo>
                  <a:pt x="0" y="1272"/>
                </a:lnTo>
                <a:lnTo>
                  <a:pt x="12" y="1266"/>
                </a:lnTo>
                <a:lnTo>
                  <a:pt x="24" y="1260"/>
                </a:lnTo>
                <a:lnTo>
                  <a:pt x="30" y="1248"/>
                </a:lnTo>
                <a:lnTo>
                  <a:pt x="30" y="1236"/>
                </a:lnTo>
                <a:lnTo>
                  <a:pt x="36" y="1236"/>
                </a:lnTo>
                <a:lnTo>
                  <a:pt x="42" y="1230"/>
                </a:lnTo>
                <a:lnTo>
                  <a:pt x="42" y="1224"/>
                </a:lnTo>
                <a:lnTo>
                  <a:pt x="48" y="1218"/>
                </a:lnTo>
                <a:lnTo>
                  <a:pt x="48" y="1212"/>
                </a:lnTo>
                <a:lnTo>
                  <a:pt x="54" y="1212"/>
                </a:lnTo>
                <a:lnTo>
                  <a:pt x="60" y="1212"/>
                </a:lnTo>
                <a:lnTo>
                  <a:pt x="60" y="1200"/>
                </a:lnTo>
                <a:lnTo>
                  <a:pt x="60" y="1194"/>
                </a:lnTo>
                <a:lnTo>
                  <a:pt x="66" y="1194"/>
                </a:lnTo>
                <a:lnTo>
                  <a:pt x="66" y="1200"/>
                </a:lnTo>
                <a:lnTo>
                  <a:pt x="72" y="1194"/>
                </a:lnTo>
                <a:lnTo>
                  <a:pt x="72" y="1200"/>
                </a:lnTo>
                <a:lnTo>
                  <a:pt x="72" y="1194"/>
                </a:lnTo>
                <a:lnTo>
                  <a:pt x="78" y="1194"/>
                </a:lnTo>
                <a:lnTo>
                  <a:pt x="84" y="1194"/>
                </a:lnTo>
                <a:lnTo>
                  <a:pt x="84" y="1188"/>
                </a:lnTo>
                <a:lnTo>
                  <a:pt x="84" y="1182"/>
                </a:lnTo>
                <a:lnTo>
                  <a:pt x="84" y="1176"/>
                </a:lnTo>
                <a:lnTo>
                  <a:pt x="90" y="1146"/>
                </a:lnTo>
                <a:lnTo>
                  <a:pt x="96" y="1140"/>
                </a:lnTo>
                <a:lnTo>
                  <a:pt x="96" y="1128"/>
                </a:lnTo>
                <a:lnTo>
                  <a:pt x="102" y="1122"/>
                </a:lnTo>
                <a:lnTo>
                  <a:pt x="108" y="1116"/>
                </a:lnTo>
                <a:lnTo>
                  <a:pt x="114" y="1116"/>
                </a:lnTo>
                <a:lnTo>
                  <a:pt x="114" y="1122"/>
                </a:lnTo>
                <a:lnTo>
                  <a:pt x="120" y="1122"/>
                </a:lnTo>
                <a:lnTo>
                  <a:pt x="120" y="1116"/>
                </a:lnTo>
                <a:lnTo>
                  <a:pt x="126" y="1122"/>
                </a:lnTo>
                <a:lnTo>
                  <a:pt x="132" y="1116"/>
                </a:lnTo>
                <a:lnTo>
                  <a:pt x="132" y="1122"/>
                </a:lnTo>
                <a:lnTo>
                  <a:pt x="132" y="1128"/>
                </a:lnTo>
                <a:lnTo>
                  <a:pt x="138" y="1128"/>
                </a:lnTo>
                <a:lnTo>
                  <a:pt x="138" y="1122"/>
                </a:lnTo>
                <a:lnTo>
                  <a:pt x="144" y="1116"/>
                </a:lnTo>
                <a:lnTo>
                  <a:pt x="144" y="1110"/>
                </a:lnTo>
                <a:lnTo>
                  <a:pt x="150" y="1116"/>
                </a:lnTo>
                <a:lnTo>
                  <a:pt x="150" y="1110"/>
                </a:lnTo>
                <a:lnTo>
                  <a:pt x="156" y="1104"/>
                </a:lnTo>
                <a:lnTo>
                  <a:pt x="162" y="1104"/>
                </a:lnTo>
                <a:lnTo>
                  <a:pt x="168" y="1104"/>
                </a:lnTo>
                <a:lnTo>
                  <a:pt x="162" y="1098"/>
                </a:lnTo>
                <a:lnTo>
                  <a:pt x="168" y="1098"/>
                </a:lnTo>
                <a:lnTo>
                  <a:pt x="162" y="1092"/>
                </a:lnTo>
                <a:lnTo>
                  <a:pt x="162" y="1086"/>
                </a:lnTo>
                <a:lnTo>
                  <a:pt x="168" y="1074"/>
                </a:lnTo>
                <a:lnTo>
                  <a:pt x="174" y="1068"/>
                </a:lnTo>
                <a:lnTo>
                  <a:pt x="186" y="1068"/>
                </a:lnTo>
                <a:lnTo>
                  <a:pt x="192" y="1074"/>
                </a:lnTo>
                <a:lnTo>
                  <a:pt x="192" y="1068"/>
                </a:lnTo>
                <a:lnTo>
                  <a:pt x="198" y="1074"/>
                </a:lnTo>
                <a:lnTo>
                  <a:pt x="204" y="1068"/>
                </a:lnTo>
                <a:lnTo>
                  <a:pt x="204" y="1056"/>
                </a:lnTo>
                <a:lnTo>
                  <a:pt x="198" y="1026"/>
                </a:lnTo>
                <a:lnTo>
                  <a:pt x="210" y="1002"/>
                </a:lnTo>
                <a:lnTo>
                  <a:pt x="210" y="996"/>
                </a:lnTo>
                <a:lnTo>
                  <a:pt x="204" y="996"/>
                </a:lnTo>
                <a:lnTo>
                  <a:pt x="204" y="984"/>
                </a:lnTo>
                <a:lnTo>
                  <a:pt x="210" y="978"/>
                </a:lnTo>
                <a:lnTo>
                  <a:pt x="216" y="966"/>
                </a:lnTo>
                <a:lnTo>
                  <a:pt x="222" y="972"/>
                </a:lnTo>
                <a:lnTo>
                  <a:pt x="228" y="972"/>
                </a:lnTo>
                <a:lnTo>
                  <a:pt x="228" y="978"/>
                </a:lnTo>
                <a:lnTo>
                  <a:pt x="228" y="990"/>
                </a:lnTo>
                <a:lnTo>
                  <a:pt x="234" y="996"/>
                </a:lnTo>
                <a:lnTo>
                  <a:pt x="246" y="990"/>
                </a:lnTo>
                <a:lnTo>
                  <a:pt x="258" y="984"/>
                </a:lnTo>
                <a:lnTo>
                  <a:pt x="264" y="984"/>
                </a:lnTo>
                <a:lnTo>
                  <a:pt x="270" y="990"/>
                </a:lnTo>
                <a:lnTo>
                  <a:pt x="288" y="996"/>
                </a:lnTo>
                <a:lnTo>
                  <a:pt x="288" y="990"/>
                </a:lnTo>
                <a:lnTo>
                  <a:pt x="288" y="984"/>
                </a:lnTo>
                <a:lnTo>
                  <a:pt x="294" y="984"/>
                </a:lnTo>
                <a:lnTo>
                  <a:pt x="288" y="978"/>
                </a:lnTo>
                <a:lnTo>
                  <a:pt x="294" y="972"/>
                </a:lnTo>
                <a:lnTo>
                  <a:pt x="294" y="966"/>
                </a:lnTo>
                <a:lnTo>
                  <a:pt x="312" y="972"/>
                </a:lnTo>
                <a:lnTo>
                  <a:pt x="318" y="972"/>
                </a:lnTo>
                <a:lnTo>
                  <a:pt x="324" y="984"/>
                </a:lnTo>
                <a:lnTo>
                  <a:pt x="330" y="984"/>
                </a:lnTo>
                <a:lnTo>
                  <a:pt x="336" y="984"/>
                </a:lnTo>
                <a:lnTo>
                  <a:pt x="342" y="984"/>
                </a:lnTo>
                <a:lnTo>
                  <a:pt x="348" y="984"/>
                </a:lnTo>
                <a:lnTo>
                  <a:pt x="348" y="978"/>
                </a:lnTo>
                <a:lnTo>
                  <a:pt x="354" y="978"/>
                </a:lnTo>
                <a:lnTo>
                  <a:pt x="360" y="972"/>
                </a:lnTo>
                <a:lnTo>
                  <a:pt x="384" y="972"/>
                </a:lnTo>
                <a:lnTo>
                  <a:pt x="390" y="978"/>
                </a:lnTo>
                <a:lnTo>
                  <a:pt x="390" y="984"/>
                </a:lnTo>
                <a:lnTo>
                  <a:pt x="402" y="990"/>
                </a:lnTo>
                <a:lnTo>
                  <a:pt x="426" y="990"/>
                </a:lnTo>
                <a:lnTo>
                  <a:pt x="426" y="972"/>
                </a:lnTo>
                <a:lnTo>
                  <a:pt x="426" y="966"/>
                </a:lnTo>
                <a:lnTo>
                  <a:pt x="432" y="966"/>
                </a:lnTo>
                <a:lnTo>
                  <a:pt x="438" y="966"/>
                </a:lnTo>
                <a:lnTo>
                  <a:pt x="444" y="972"/>
                </a:lnTo>
                <a:lnTo>
                  <a:pt x="450" y="972"/>
                </a:lnTo>
                <a:lnTo>
                  <a:pt x="450" y="978"/>
                </a:lnTo>
                <a:lnTo>
                  <a:pt x="456" y="978"/>
                </a:lnTo>
                <a:lnTo>
                  <a:pt x="462" y="978"/>
                </a:lnTo>
                <a:lnTo>
                  <a:pt x="468" y="978"/>
                </a:lnTo>
                <a:lnTo>
                  <a:pt x="474" y="978"/>
                </a:lnTo>
                <a:lnTo>
                  <a:pt x="474" y="984"/>
                </a:lnTo>
                <a:lnTo>
                  <a:pt x="480" y="984"/>
                </a:lnTo>
                <a:lnTo>
                  <a:pt x="486" y="972"/>
                </a:lnTo>
                <a:lnTo>
                  <a:pt x="492" y="966"/>
                </a:lnTo>
                <a:lnTo>
                  <a:pt x="498" y="972"/>
                </a:lnTo>
                <a:lnTo>
                  <a:pt x="504" y="972"/>
                </a:lnTo>
                <a:lnTo>
                  <a:pt x="504" y="966"/>
                </a:lnTo>
                <a:lnTo>
                  <a:pt x="510" y="966"/>
                </a:lnTo>
                <a:lnTo>
                  <a:pt x="516" y="966"/>
                </a:lnTo>
                <a:lnTo>
                  <a:pt x="516" y="960"/>
                </a:lnTo>
                <a:lnTo>
                  <a:pt x="510" y="960"/>
                </a:lnTo>
                <a:lnTo>
                  <a:pt x="510" y="954"/>
                </a:lnTo>
                <a:lnTo>
                  <a:pt x="498" y="954"/>
                </a:lnTo>
                <a:lnTo>
                  <a:pt x="498" y="948"/>
                </a:lnTo>
                <a:lnTo>
                  <a:pt x="486" y="948"/>
                </a:lnTo>
                <a:lnTo>
                  <a:pt x="486" y="942"/>
                </a:lnTo>
                <a:lnTo>
                  <a:pt x="480" y="942"/>
                </a:lnTo>
                <a:lnTo>
                  <a:pt x="474" y="930"/>
                </a:lnTo>
                <a:lnTo>
                  <a:pt x="474" y="924"/>
                </a:lnTo>
                <a:lnTo>
                  <a:pt x="468" y="930"/>
                </a:lnTo>
                <a:lnTo>
                  <a:pt x="468" y="924"/>
                </a:lnTo>
                <a:lnTo>
                  <a:pt x="462" y="924"/>
                </a:lnTo>
                <a:lnTo>
                  <a:pt x="462" y="918"/>
                </a:lnTo>
                <a:lnTo>
                  <a:pt x="456" y="918"/>
                </a:lnTo>
                <a:lnTo>
                  <a:pt x="450" y="906"/>
                </a:lnTo>
                <a:lnTo>
                  <a:pt x="438" y="912"/>
                </a:lnTo>
                <a:lnTo>
                  <a:pt x="426" y="930"/>
                </a:lnTo>
                <a:lnTo>
                  <a:pt x="420" y="924"/>
                </a:lnTo>
                <a:lnTo>
                  <a:pt x="414" y="918"/>
                </a:lnTo>
                <a:lnTo>
                  <a:pt x="420" y="906"/>
                </a:lnTo>
                <a:lnTo>
                  <a:pt x="414" y="906"/>
                </a:lnTo>
                <a:lnTo>
                  <a:pt x="414" y="900"/>
                </a:lnTo>
                <a:lnTo>
                  <a:pt x="426" y="894"/>
                </a:lnTo>
                <a:lnTo>
                  <a:pt x="432" y="894"/>
                </a:lnTo>
                <a:lnTo>
                  <a:pt x="438" y="888"/>
                </a:lnTo>
                <a:lnTo>
                  <a:pt x="444" y="882"/>
                </a:lnTo>
                <a:lnTo>
                  <a:pt x="450" y="888"/>
                </a:lnTo>
                <a:lnTo>
                  <a:pt x="456" y="882"/>
                </a:lnTo>
                <a:lnTo>
                  <a:pt x="456" y="876"/>
                </a:lnTo>
                <a:lnTo>
                  <a:pt x="462" y="876"/>
                </a:lnTo>
                <a:lnTo>
                  <a:pt x="468" y="876"/>
                </a:lnTo>
                <a:lnTo>
                  <a:pt x="486" y="870"/>
                </a:lnTo>
                <a:lnTo>
                  <a:pt x="492" y="864"/>
                </a:lnTo>
                <a:lnTo>
                  <a:pt x="498" y="870"/>
                </a:lnTo>
                <a:lnTo>
                  <a:pt x="516" y="852"/>
                </a:lnTo>
                <a:lnTo>
                  <a:pt x="516" y="840"/>
                </a:lnTo>
                <a:lnTo>
                  <a:pt x="492" y="828"/>
                </a:lnTo>
                <a:lnTo>
                  <a:pt x="486" y="828"/>
                </a:lnTo>
                <a:lnTo>
                  <a:pt x="474" y="828"/>
                </a:lnTo>
                <a:lnTo>
                  <a:pt x="474" y="834"/>
                </a:lnTo>
                <a:lnTo>
                  <a:pt x="462" y="828"/>
                </a:lnTo>
                <a:lnTo>
                  <a:pt x="462" y="822"/>
                </a:lnTo>
                <a:lnTo>
                  <a:pt x="450" y="828"/>
                </a:lnTo>
                <a:lnTo>
                  <a:pt x="450" y="816"/>
                </a:lnTo>
                <a:lnTo>
                  <a:pt x="450" y="810"/>
                </a:lnTo>
                <a:lnTo>
                  <a:pt x="450" y="804"/>
                </a:lnTo>
                <a:lnTo>
                  <a:pt x="450" y="798"/>
                </a:lnTo>
                <a:lnTo>
                  <a:pt x="444" y="798"/>
                </a:lnTo>
                <a:lnTo>
                  <a:pt x="444" y="792"/>
                </a:lnTo>
                <a:lnTo>
                  <a:pt x="438" y="798"/>
                </a:lnTo>
                <a:lnTo>
                  <a:pt x="438" y="786"/>
                </a:lnTo>
                <a:lnTo>
                  <a:pt x="438" y="780"/>
                </a:lnTo>
                <a:lnTo>
                  <a:pt x="432" y="774"/>
                </a:lnTo>
                <a:lnTo>
                  <a:pt x="444" y="774"/>
                </a:lnTo>
                <a:lnTo>
                  <a:pt x="444" y="768"/>
                </a:lnTo>
                <a:lnTo>
                  <a:pt x="450" y="762"/>
                </a:lnTo>
                <a:lnTo>
                  <a:pt x="450" y="768"/>
                </a:lnTo>
                <a:lnTo>
                  <a:pt x="462" y="768"/>
                </a:lnTo>
                <a:lnTo>
                  <a:pt x="456" y="756"/>
                </a:lnTo>
                <a:lnTo>
                  <a:pt x="480" y="750"/>
                </a:lnTo>
                <a:lnTo>
                  <a:pt x="480" y="726"/>
                </a:lnTo>
                <a:lnTo>
                  <a:pt x="492" y="720"/>
                </a:lnTo>
                <a:lnTo>
                  <a:pt x="516" y="714"/>
                </a:lnTo>
                <a:lnTo>
                  <a:pt x="516" y="690"/>
                </a:lnTo>
                <a:lnTo>
                  <a:pt x="510" y="696"/>
                </a:lnTo>
                <a:lnTo>
                  <a:pt x="504" y="678"/>
                </a:lnTo>
                <a:lnTo>
                  <a:pt x="498" y="672"/>
                </a:lnTo>
                <a:lnTo>
                  <a:pt x="474" y="672"/>
                </a:lnTo>
                <a:lnTo>
                  <a:pt x="456" y="672"/>
                </a:lnTo>
                <a:lnTo>
                  <a:pt x="438" y="690"/>
                </a:lnTo>
                <a:lnTo>
                  <a:pt x="426" y="690"/>
                </a:lnTo>
                <a:lnTo>
                  <a:pt x="420" y="690"/>
                </a:lnTo>
                <a:lnTo>
                  <a:pt x="414" y="690"/>
                </a:lnTo>
                <a:lnTo>
                  <a:pt x="408" y="684"/>
                </a:lnTo>
                <a:lnTo>
                  <a:pt x="402" y="672"/>
                </a:lnTo>
                <a:lnTo>
                  <a:pt x="408" y="672"/>
                </a:lnTo>
                <a:lnTo>
                  <a:pt x="408" y="666"/>
                </a:lnTo>
                <a:lnTo>
                  <a:pt x="408" y="660"/>
                </a:lnTo>
                <a:lnTo>
                  <a:pt x="414" y="660"/>
                </a:lnTo>
                <a:lnTo>
                  <a:pt x="420" y="648"/>
                </a:lnTo>
                <a:lnTo>
                  <a:pt x="420" y="642"/>
                </a:lnTo>
                <a:lnTo>
                  <a:pt x="420" y="636"/>
                </a:lnTo>
                <a:lnTo>
                  <a:pt x="414" y="624"/>
                </a:lnTo>
                <a:lnTo>
                  <a:pt x="402" y="606"/>
                </a:lnTo>
                <a:lnTo>
                  <a:pt x="408" y="600"/>
                </a:lnTo>
                <a:lnTo>
                  <a:pt x="402" y="600"/>
                </a:lnTo>
                <a:lnTo>
                  <a:pt x="384" y="606"/>
                </a:lnTo>
                <a:lnTo>
                  <a:pt x="372" y="612"/>
                </a:lnTo>
                <a:lnTo>
                  <a:pt x="360" y="594"/>
                </a:lnTo>
                <a:lnTo>
                  <a:pt x="360" y="588"/>
                </a:lnTo>
                <a:lnTo>
                  <a:pt x="354" y="582"/>
                </a:lnTo>
                <a:lnTo>
                  <a:pt x="354" y="570"/>
                </a:lnTo>
                <a:lnTo>
                  <a:pt x="354" y="564"/>
                </a:lnTo>
                <a:lnTo>
                  <a:pt x="354" y="558"/>
                </a:lnTo>
                <a:lnTo>
                  <a:pt x="360" y="558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78" y="546"/>
                </a:lnTo>
                <a:lnTo>
                  <a:pt x="378" y="534"/>
                </a:lnTo>
                <a:lnTo>
                  <a:pt x="378" y="522"/>
                </a:lnTo>
                <a:lnTo>
                  <a:pt x="378" y="516"/>
                </a:lnTo>
                <a:lnTo>
                  <a:pt x="384" y="510"/>
                </a:lnTo>
                <a:lnTo>
                  <a:pt x="378" y="492"/>
                </a:lnTo>
                <a:lnTo>
                  <a:pt x="378" y="480"/>
                </a:lnTo>
                <a:lnTo>
                  <a:pt x="360" y="480"/>
                </a:lnTo>
                <a:lnTo>
                  <a:pt x="366" y="474"/>
                </a:lnTo>
                <a:lnTo>
                  <a:pt x="384" y="480"/>
                </a:lnTo>
                <a:lnTo>
                  <a:pt x="384" y="474"/>
                </a:lnTo>
                <a:lnTo>
                  <a:pt x="396" y="474"/>
                </a:lnTo>
                <a:lnTo>
                  <a:pt x="396" y="468"/>
                </a:lnTo>
                <a:lnTo>
                  <a:pt x="402" y="462"/>
                </a:lnTo>
                <a:lnTo>
                  <a:pt x="414" y="468"/>
                </a:lnTo>
                <a:lnTo>
                  <a:pt x="426" y="450"/>
                </a:lnTo>
                <a:lnTo>
                  <a:pt x="426" y="444"/>
                </a:lnTo>
                <a:lnTo>
                  <a:pt x="420" y="438"/>
                </a:lnTo>
                <a:lnTo>
                  <a:pt x="420" y="432"/>
                </a:lnTo>
                <a:lnTo>
                  <a:pt x="420" y="426"/>
                </a:lnTo>
                <a:lnTo>
                  <a:pt x="426" y="420"/>
                </a:lnTo>
                <a:lnTo>
                  <a:pt x="432" y="420"/>
                </a:lnTo>
                <a:lnTo>
                  <a:pt x="438" y="414"/>
                </a:lnTo>
                <a:lnTo>
                  <a:pt x="426" y="396"/>
                </a:lnTo>
                <a:lnTo>
                  <a:pt x="426" y="384"/>
                </a:lnTo>
                <a:lnTo>
                  <a:pt x="414" y="354"/>
                </a:lnTo>
                <a:lnTo>
                  <a:pt x="408" y="348"/>
                </a:lnTo>
                <a:lnTo>
                  <a:pt x="402" y="342"/>
                </a:lnTo>
                <a:lnTo>
                  <a:pt x="402" y="330"/>
                </a:lnTo>
                <a:lnTo>
                  <a:pt x="402" y="324"/>
                </a:lnTo>
                <a:lnTo>
                  <a:pt x="396" y="324"/>
                </a:lnTo>
                <a:lnTo>
                  <a:pt x="396" y="318"/>
                </a:lnTo>
                <a:lnTo>
                  <a:pt x="396" y="312"/>
                </a:lnTo>
                <a:lnTo>
                  <a:pt x="390" y="306"/>
                </a:lnTo>
                <a:lnTo>
                  <a:pt x="384" y="300"/>
                </a:lnTo>
                <a:lnTo>
                  <a:pt x="372" y="300"/>
                </a:lnTo>
                <a:lnTo>
                  <a:pt x="372" y="306"/>
                </a:lnTo>
                <a:lnTo>
                  <a:pt x="372" y="300"/>
                </a:lnTo>
                <a:lnTo>
                  <a:pt x="366" y="300"/>
                </a:lnTo>
                <a:lnTo>
                  <a:pt x="366" y="294"/>
                </a:lnTo>
                <a:lnTo>
                  <a:pt x="366" y="288"/>
                </a:lnTo>
                <a:lnTo>
                  <a:pt x="360" y="288"/>
                </a:lnTo>
                <a:lnTo>
                  <a:pt x="354" y="282"/>
                </a:lnTo>
                <a:lnTo>
                  <a:pt x="348" y="276"/>
                </a:lnTo>
                <a:lnTo>
                  <a:pt x="354" y="270"/>
                </a:lnTo>
                <a:lnTo>
                  <a:pt x="366" y="264"/>
                </a:lnTo>
                <a:lnTo>
                  <a:pt x="372" y="264"/>
                </a:lnTo>
                <a:lnTo>
                  <a:pt x="372" y="258"/>
                </a:lnTo>
                <a:lnTo>
                  <a:pt x="378" y="252"/>
                </a:lnTo>
                <a:lnTo>
                  <a:pt x="378" y="246"/>
                </a:lnTo>
                <a:lnTo>
                  <a:pt x="378" y="234"/>
                </a:lnTo>
                <a:lnTo>
                  <a:pt x="372" y="234"/>
                </a:lnTo>
                <a:lnTo>
                  <a:pt x="366" y="228"/>
                </a:lnTo>
                <a:lnTo>
                  <a:pt x="366" y="222"/>
                </a:lnTo>
                <a:lnTo>
                  <a:pt x="372" y="216"/>
                </a:lnTo>
                <a:lnTo>
                  <a:pt x="378" y="216"/>
                </a:lnTo>
                <a:lnTo>
                  <a:pt x="378" y="210"/>
                </a:lnTo>
                <a:lnTo>
                  <a:pt x="372" y="210"/>
                </a:lnTo>
                <a:lnTo>
                  <a:pt x="366" y="204"/>
                </a:lnTo>
                <a:lnTo>
                  <a:pt x="360" y="186"/>
                </a:lnTo>
                <a:lnTo>
                  <a:pt x="354" y="168"/>
                </a:lnTo>
                <a:lnTo>
                  <a:pt x="372" y="156"/>
                </a:lnTo>
                <a:lnTo>
                  <a:pt x="378" y="156"/>
                </a:lnTo>
                <a:lnTo>
                  <a:pt x="390" y="162"/>
                </a:lnTo>
                <a:lnTo>
                  <a:pt x="396" y="162"/>
                </a:lnTo>
                <a:lnTo>
                  <a:pt x="408" y="162"/>
                </a:lnTo>
                <a:lnTo>
                  <a:pt x="408" y="168"/>
                </a:lnTo>
                <a:lnTo>
                  <a:pt x="414" y="168"/>
                </a:lnTo>
                <a:lnTo>
                  <a:pt x="408" y="174"/>
                </a:lnTo>
                <a:lnTo>
                  <a:pt x="408" y="180"/>
                </a:lnTo>
                <a:lnTo>
                  <a:pt x="408" y="186"/>
                </a:lnTo>
                <a:lnTo>
                  <a:pt x="408" y="180"/>
                </a:lnTo>
                <a:lnTo>
                  <a:pt x="414" y="180"/>
                </a:lnTo>
                <a:lnTo>
                  <a:pt x="414" y="186"/>
                </a:lnTo>
                <a:lnTo>
                  <a:pt x="420" y="186"/>
                </a:lnTo>
                <a:lnTo>
                  <a:pt x="426" y="186"/>
                </a:lnTo>
                <a:lnTo>
                  <a:pt x="426" y="192"/>
                </a:lnTo>
                <a:lnTo>
                  <a:pt x="426" y="198"/>
                </a:lnTo>
                <a:lnTo>
                  <a:pt x="432" y="192"/>
                </a:lnTo>
                <a:lnTo>
                  <a:pt x="438" y="186"/>
                </a:lnTo>
                <a:lnTo>
                  <a:pt x="438" y="180"/>
                </a:lnTo>
                <a:lnTo>
                  <a:pt x="444" y="180"/>
                </a:lnTo>
                <a:lnTo>
                  <a:pt x="444" y="174"/>
                </a:lnTo>
                <a:lnTo>
                  <a:pt x="438" y="162"/>
                </a:lnTo>
                <a:lnTo>
                  <a:pt x="444" y="162"/>
                </a:lnTo>
                <a:lnTo>
                  <a:pt x="450" y="162"/>
                </a:lnTo>
                <a:lnTo>
                  <a:pt x="450" y="156"/>
                </a:lnTo>
                <a:lnTo>
                  <a:pt x="450" y="150"/>
                </a:lnTo>
                <a:lnTo>
                  <a:pt x="462" y="150"/>
                </a:lnTo>
                <a:lnTo>
                  <a:pt x="462" y="156"/>
                </a:lnTo>
                <a:lnTo>
                  <a:pt x="468" y="150"/>
                </a:lnTo>
                <a:lnTo>
                  <a:pt x="474" y="156"/>
                </a:lnTo>
                <a:lnTo>
                  <a:pt x="480" y="150"/>
                </a:lnTo>
                <a:lnTo>
                  <a:pt x="492" y="162"/>
                </a:lnTo>
                <a:lnTo>
                  <a:pt x="510" y="156"/>
                </a:lnTo>
                <a:lnTo>
                  <a:pt x="522" y="156"/>
                </a:lnTo>
                <a:lnTo>
                  <a:pt x="528" y="156"/>
                </a:lnTo>
                <a:lnTo>
                  <a:pt x="528" y="150"/>
                </a:lnTo>
                <a:lnTo>
                  <a:pt x="528" y="144"/>
                </a:lnTo>
                <a:lnTo>
                  <a:pt x="534" y="138"/>
                </a:lnTo>
                <a:lnTo>
                  <a:pt x="534" y="132"/>
                </a:lnTo>
                <a:lnTo>
                  <a:pt x="540" y="126"/>
                </a:lnTo>
                <a:lnTo>
                  <a:pt x="546" y="126"/>
                </a:lnTo>
                <a:lnTo>
                  <a:pt x="546" y="120"/>
                </a:lnTo>
                <a:lnTo>
                  <a:pt x="540" y="126"/>
                </a:lnTo>
                <a:lnTo>
                  <a:pt x="540" y="120"/>
                </a:lnTo>
                <a:lnTo>
                  <a:pt x="546" y="120"/>
                </a:lnTo>
                <a:lnTo>
                  <a:pt x="552" y="120"/>
                </a:lnTo>
                <a:lnTo>
                  <a:pt x="552" y="114"/>
                </a:lnTo>
                <a:lnTo>
                  <a:pt x="558" y="114"/>
                </a:lnTo>
                <a:lnTo>
                  <a:pt x="564" y="114"/>
                </a:lnTo>
                <a:lnTo>
                  <a:pt x="564" y="108"/>
                </a:lnTo>
                <a:lnTo>
                  <a:pt x="564" y="102"/>
                </a:lnTo>
                <a:lnTo>
                  <a:pt x="570" y="102"/>
                </a:lnTo>
                <a:lnTo>
                  <a:pt x="576" y="102"/>
                </a:lnTo>
                <a:lnTo>
                  <a:pt x="582" y="96"/>
                </a:lnTo>
                <a:lnTo>
                  <a:pt x="582" y="102"/>
                </a:lnTo>
                <a:lnTo>
                  <a:pt x="588" y="90"/>
                </a:lnTo>
                <a:lnTo>
                  <a:pt x="594" y="78"/>
                </a:lnTo>
                <a:lnTo>
                  <a:pt x="606" y="66"/>
                </a:lnTo>
                <a:lnTo>
                  <a:pt x="618" y="66"/>
                </a:lnTo>
                <a:lnTo>
                  <a:pt x="624" y="60"/>
                </a:lnTo>
                <a:lnTo>
                  <a:pt x="630" y="66"/>
                </a:lnTo>
                <a:lnTo>
                  <a:pt x="642" y="78"/>
                </a:lnTo>
                <a:lnTo>
                  <a:pt x="648" y="84"/>
                </a:lnTo>
                <a:lnTo>
                  <a:pt x="654" y="96"/>
                </a:lnTo>
                <a:lnTo>
                  <a:pt x="660" y="96"/>
                </a:lnTo>
                <a:lnTo>
                  <a:pt x="672" y="102"/>
                </a:lnTo>
                <a:lnTo>
                  <a:pt x="678" y="114"/>
                </a:lnTo>
                <a:lnTo>
                  <a:pt x="696" y="120"/>
                </a:lnTo>
                <a:lnTo>
                  <a:pt x="708" y="138"/>
                </a:lnTo>
                <a:lnTo>
                  <a:pt x="720" y="126"/>
                </a:lnTo>
                <a:lnTo>
                  <a:pt x="726" y="120"/>
                </a:lnTo>
                <a:lnTo>
                  <a:pt x="738" y="132"/>
                </a:lnTo>
                <a:lnTo>
                  <a:pt x="744" y="120"/>
                </a:lnTo>
                <a:lnTo>
                  <a:pt x="744" y="114"/>
                </a:lnTo>
                <a:lnTo>
                  <a:pt x="774" y="90"/>
                </a:lnTo>
                <a:lnTo>
                  <a:pt x="792" y="96"/>
                </a:lnTo>
                <a:lnTo>
                  <a:pt x="810" y="78"/>
                </a:lnTo>
                <a:lnTo>
                  <a:pt x="822" y="72"/>
                </a:lnTo>
                <a:lnTo>
                  <a:pt x="834" y="78"/>
                </a:lnTo>
                <a:lnTo>
                  <a:pt x="840" y="72"/>
                </a:lnTo>
                <a:lnTo>
                  <a:pt x="846" y="66"/>
                </a:lnTo>
                <a:lnTo>
                  <a:pt x="864" y="72"/>
                </a:lnTo>
                <a:lnTo>
                  <a:pt x="882" y="66"/>
                </a:lnTo>
                <a:lnTo>
                  <a:pt x="900" y="48"/>
                </a:lnTo>
                <a:lnTo>
                  <a:pt x="906" y="42"/>
                </a:lnTo>
                <a:lnTo>
                  <a:pt x="918" y="60"/>
                </a:lnTo>
                <a:lnTo>
                  <a:pt x="924" y="66"/>
                </a:lnTo>
                <a:lnTo>
                  <a:pt x="930" y="66"/>
                </a:lnTo>
                <a:lnTo>
                  <a:pt x="936" y="96"/>
                </a:lnTo>
                <a:lnTo>
                  <a:pt x="948" y="96"/>
                </a:lnTo>
                <a:lnTo>
                  <a:pt x="960" y="108"/>
                </a:lnTo>
                <a:lnTo>
                  <a:pt x="966" y="114"/>
                </a:lnTo>
                <a:lnTo>
                  <a:pt x="972" y="108"/>
                </a:lnTo>
                <a:lnTo>
                  <a:pt x="978" y="102"/>
                </a:lnTo>
                <a:lnTo>
                  <a:pt x="1002" y="102"/>
                </a:lnTo>
                <a:lnTo>
                  <a:pt x="1008" y="102"/>
                </a:lnTo>
                <a:lnTo>
                  <a:pt x="1026" y="108"/>
                </a:lnTo>
                <a:lnTo>
                  <a:pt x="1038" y="114"/>
                </a:lnTo>
                <a:lnTo>
                  <a:pt x="1044" y="120"/>
                </a:lnTo>
                <a:lnTo>
                  <a:pt x="1050" y="120"/>
                </a:lnTo>
                <a:lnTo>
                  <a:pt x="1056" y="114"/>
                </a:lnTo>
                <a:lnTo>
                  <a:pt x="1056" y="96"/>
                </a:lnTo>
                <a:lnTo>
                  <a:pt x="1068" y="84"/>
                </a:lnTo>
                <a:lnTo>
                  <a:pt x="1074" y="78"/>
                </a:lnTo>
                <a:lnTo>
                  <a:pt x="1086" y="72"/>
                </a:lnTo>
                <a:lnTo>
                  <a:pt x="1092" y="66"/>
                </a:lnTo>
                <a:lnTo>
                  <a:pt x="1098" y="66"/>
                </a:lnTo>
                <a:lnTo>
                  <a:pt x="1104" y="60"/>
                </a:lnTo>
                <a:lnTo>
                  <a:pt x="1116" y="54"/>
                </a:lnTo>
                <a:lnTo>
                  <a:pt x="1122" y="54"/>
                </a:lnTo>
                <a:lnTo>
                  <a:pt x="1140" y="30"/>
                </a:lnTo>
                <a:lnTo>
                  <a:pt x="1152" y="12"/>
                </a:lnTo>
                <a:lnTo>
                  <a:pt x="1164" y="0"/>
                </a:lnTo>
                <a:lnTo>
                  <a:pt x="1164" y="12"/>
                </a:lnTo>
                <a:lnTo>
                  <a:pt x="1170" y="12"/>
                </a:lnTo>
                <a:lnTo>
                  <a:pt x="1170" y="18"/>
                </a:lnTo>
                <a:lnTo>
                  <a:pt x="1182" y="30"/>
                </a:lnTo>
                <a:lnTo>
                  <a:pt x="1200" y="18"/>
                </a:lnTo>
                <a:lnTo>
                  <a:pt x="1206" y="12"/>
                </a:lnTo>
                <a:lnTo>
                  <a:pt x="1206" y="18"/>
                </a:lnTo>
                <a:lnTo>
                  <a:pt x="1218" y="36"/>
                </a:lnTo>
                <a:lnTo>
                  <a:pt x="1200" y="48"/>
                </a:lnTo>
                <a:lnTo>
                  <a:pt x="1194" y="54"/>
                </a:lnTo>
                <a:lnTo>
                  <a:pt x="1194" y="60"/>
                </a:lnTo>
                <a:lnTo>
                  <a:pt x="1188" y="66"/>
                </a:lnTo>
                <a:lnTo>
                  <a:pt x="1188" y="84"/>
                </a:lnTo>
                <a:lnTo>
                  <a:pt x="1188" y="102"/>
                </a:lnTo>
                <a:lnTo>
                  <a:pt x="1194" y="96"/>
                </a:lnTo>
                <a:lnTo>
                  <a:pt x="1236" y="84"/>
                </a:lnTo>
                <a:lnTo>
                  <a:pt x="1242" y="78"/>
                </a:lnTo>
                <a:lnTo>
                  <a:pt x="1248" y="78"/>
                </a:lnTo>
                <a:lnTo>
                  <a:pt x="1272" y="60"/>
                </a:lnTo>
                <a:lnTo>
                  <a:pt x="1284" y="60"/>
                </a:lnTo>
                <a:lnTo>
                  <a:pt x="1296" y="54"/>
                </a:lnTo>
                <a:lnTo>
                  <a:pt x="1290" y="42"/>
                </a:lnTo>
                <a:lnTo>
                  <a:pt x="1296" y="36"/>
                </a:lnTo>
                <a:lnTo>
                  <a:pt x="1302" y="30"/>
                </a:lnTo>
                <a:lnTo>
                  <a:pt x="1308" y="24"/>
                </a:lnTo>
                <a:lnTo>
                  <a:pt x="1314" y="24"/>
                </a:lnTo>
                <a:lnTo>
                  <a:pt x="1320" y="24"/>
                </a:lnTo>
                <a:lnTo>
                  <a:pt x="1338" y="18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67" name="Freeform 11"/>
          <p:cNvSpPr>
            <a:spLocks/>
          </p:cNvSpPr>
          <p:nvPr/>
        </p:nvSpPr>
        <p:spPr bwMode="gray">
          <a:xfrm>
            <a:off x="2228850" y="5499100"/>
            <a:ext cx="1677988" cy="1284288"/>
          </a:xfrm>
          <a:custGeom>
            <a:avLst/>
            <a:gdLst>
              <a:gd name="T0" fmla="*/ 113666 w 1740"/>
              <a:gd name="T1" fmla="*/ 44839 h 1338"/>
              <a:gd name="T2" fmla="*/ 116937 w 1740"/>
              <a:gd name="T3" fmla="*/ 48915 h 1338"/>
              <a:gd name="T4" fmla="*/ 123479 w 1740"/>
              <a:gd name="T5" fmla="*/ 47285 h 1338"/>
              <a:gd name="T6" fmla="*/ 123479 w 1740"/>
              <a:gd name="T7" fmla="*/ 57068 h 1338"/>
              <a:gd name="T8" fmla="*/ 123479 w 1740"/>
              <a:gd name="T9" fmla="*/ 61144 h 1338"/>
              <a:gd name="T10" fmla="*/ 121844 w 1740"/>
              <a:gd name="T11" fmla="*/ 65220 h 1338"/>
              <a:gd name="T12" fmla="*/ 117755 w 1740"/>
              <a:gd name="T13" fmla="*/ 68481 h 1338"/>
              <a:gd name="T14" fmla="*/ 107942 w 1740"/>
              <a:gd name="T15" fmla="*/ 66035 h 1338"/>
              <a:gd name="T16" fmla="*/ 106307 w 1740"/>
              <a:gd name="T17" fmla="*/ 69296 h 1338"/>
              <a:gd name="T18" fmla="*/ 103853 w 1740"/>
              <a:gd name="T19" fmla="*/ 72557 h 1338"/>
              <a:gd name="T20" fmla="*/ 101400 w 1740"/>
              <a:gd name="T21" fmla="*/ 79079 h 1338"/>
              <a:gd name="T22" fmla="*/ 98129 w 1740"/>
              <a:gd name="T23" fmla="*/ 84786 h 1338"/>
              <a:gd name="T24" fmla="*/ 92405 w 1740"/>
              <a:gd name="T25" fmla="*/ 86417 h 1338"/>
              <a:gd name="T26" fmla="*/ 90769 w 1740"/>
              <a:gd name="T27" fmla="*/ 88862 h 1338"/>
              <a:gd name="T28" fmla="*/ 87498 w 1740"/>
              <a:gd name="T29" fmla="*/ 93754 h 1338"/>
              <a:gd name="T30" fmla="*/ 82592 w 1740"/>
              <a:gd name="T31" fmla="*/ 92123 h 1338"/>
              <a:gd name="T32" fmla="*/ 76868 w 1740"/>
              <a:gd name="T33" fmla="*/ 93754 h 1338"/>
              <a:gd name="T34" fmla="*/ 70326 w 1740"/>
              <a:gd name="T35" fmla="*/ 93754 h 1338"/>
              <a:gd name="T36" fmla="*/ 64602 w 1740"/>
              <a:gd name="T37" fmla="*/ 90493 h 1338"/>
              <a:gd name="T38" fmla="*/ 58877 w 1740"/>
              <a:gd name="T39" fmla="*/ 91308 h 1338"/>
              <a:gd name="T40" fmla="*/ 51518 w 1740"/>
              <a:gd name="T41" fmla="*/ 94569 h 1338"/>
              <a:gd name="T42" fmla="*/ 42523 w 1740"/>
              <a:gd name="T43" fmla="*/ 91308 h 1338"/>
              <a:gd name="T44" fmla="*/ 34345 w 1740"/>
              <a:gd name="T45" fmla="*/ 92939 h 1338"/>
              <a:gd name="T46" fmla="*/ 27803 w 1740"/>
              <a:gd name="T47" fmla="*/ 95384 h 1338"/>
              <a:gd name="T48" fmla="*/ 22897 w 1740"/>
              <a:gd name="T49" fmla="*/ 91308 h 1338"/>
              <a:gd name="T50" fmla="*/ 14719 w 1740"/>
              <a:gd name="T51" fmla="*/ 88862 h 1338"/>
              <a:gd name="T52" fmla="*/ 8177 w 1740"/>
              <a:gd name="T53" fmla="*/ 87232 h 1338"/>
              <a:gd name="T54" fmla="*/ 12266 w 1740"/>
              <a:gd name="T55" fmla="*/ 85601 h 1338"/>
              <a:gd name="T56" fmla="*/ 13084 w 1740"/>
              <a:gd name="T57" fmla="*/ 79895 h 1338"/>
              <a:gd name="T58" fmla="*/ 7360 w 1740"/>
              <a:gd name="T59" fmla="*/ 75818 h 1338"/>
              <a:gd name="T60" fmla="*/ 4906 w 1740"/>
              <a:gd name="T61" fmla="*/ 75818 h 1338"/>
              <a:gd name="T62" fmla="*/ 2453 w 1740"/>
              <a:gd name="T63" fmla="*/ 70112 h 1338"/>
              <a:gd name="T64" fmla="*/ 3271 w 1740"/>
              <a:gd name="T65" fmla="*/ 65220 h 1338"/>
              <a:gd name="T66" fmla="*/ 3271 w 1740"/>
              <a:gd name="T67" fmla="*/ 59513 h 1338"/>
              <a:gd name="T68" fmla="*/ 4089 w 1740"/>
              <a:gd name="T69" fmla="*/ 48100 h 1338"/>
              <a:gd name="T70" fmla="*/ 7360 w 1740"/>
              <a:gd name="T71" fmla="*/ 39132 h 1338"/>
              <a:gd name="T72" fmla="*/ 8995 w 1740"/>
              <a:gd name="T73" fmla="*/ 34241 h 1338"/>
              <a:gd name="T74" fmla="*/ 15537 w 1740"/>
              <a:gd name="T75" fmla="*/ 32610 h 1338"/>
              <a:gd name="T76" fmla="*/ 19626 w 1740"/>
              <a:gd name="T77" fmla="*/ 33425 h 1338"/>
              <a:gd name="T78" fmla="*/ 27803 w 1740"/>
              <a:gd name="T79" fmla="*/ 30164 h 1338"/>
              <a:gd name="T80" fmla="*/ 29439 w 1740"/>
              <a:gd name="T81" fmla="*/ 21197 h 1338"/>
              <a:gd name="T82" fmla="*/ 35981 w 1740"/>
              <a:gd name="T83" fmla="*/ 19566 h 1338"/>
              <a:gd name="T84" fmla="*/ 43340 w 1740"/>
              <a:gd name="T85" fmla="*/ 18751 h 1338"/>
              <a:gd name="T86" fmla="*/ 47429 w 1740"/>
              <a:gd name="T87" fmla="*/ 18751 h 1338"/>
              <a:gd name="T88" fmla="*/ 47429 w 1740"/>
              <a:gd name="T89" fmla="*/ 14675 h 1338"/>
              <a:gd name="T90" fmla="*/ 53153 w 1740"/>
              <a:gd name="T91" fmla="*/ 14675 h 1338"/>
              <a:gd name="T92" fmla="*/ 52336 w 1740"/>
              <a:gd name="T93" fmla="*/ 8153 h 1338"/>
              <a:gd name="T94" fmla="*/ 56424 w 1740"/>
              <a:gd name="T95" fmla="*/ 2446 h 1338"/>
              <a:gd name="T96" fmla="*/ 62148 w 1740"/>
              <a:gd name="T97" fmla="*/ 815 h 1338"/>
              <a:gd name="T98" fmla="*/ 67873 w 1740"/>
              <a:gd name="T99" fmla="*/ 4076 h 1338"/>
              <a:gd name="T100" fmla="*/ 71961 w 1740"/>
              <a:gd name="T101" fmla="*/ 7337 h 1338"/>
              <a:gd name="T102" fmla="*/ 72779 w 1740"/>
              <a:gd name="T103" fmla="*/ 16305 h 1338"/>
              <a:gd name="T104" fmla="*/ 77686 w 1740"/>
              <a:gd name="T105" fmla="*/ 18751 h 1338"/>
              <a:gd name="T106" fmla="*/ 75232 w 1740"/>
              <a:gd name="T107" fmla="*/ 23642 h 1338"/>
              <a:gd name="T108" fmla="*/ 73597 w 1740"/>
              <a:gd name="T109" fmla="*/ 26903 h 1338"/>
              <a:gd name="T110" fmla="*/ 80139 w 1740"/>
              <a:gd name="T111" fmla="*/ 21197 h 1338"/>
              <a:gd name="T112" fmla="*/ 82592 w 1740"/>
              <a:gd name="T113" fmla="*/ 17936 h 1338"/>
              <a:gd name="T114" fmla="*/ 85045 w 1740"/>
              <a:gd name="T115" fmla="*/ 14675 h 1338"/>
              <a:gd name="T116" fmla="*/ 89134 w 1740"/>
              <a:gd name="T117" fmla="*/ 17120 h 1338"/>
              <a:gd name="T118" fmla="*/ 88316 w 1740"/>
              <a:gd name="T119" fmla="*/ 24458 h 1338"/>
              <a:gd name="T120" fmla="*/ 93223 w 1740"/>
              <a:gd name="T121" fmla="*/ 25273 h 1338"/>
              <a:gd name="T122" fmla="*/ 100582 w 1740"/>
              <a:gd name="T123" fmla="*/ 31795 h 1338"/>
              <a:gd name="T124" fmla="*/ 107942 w 1740"/>
              <a:gd name="T125" fmla="*/ 35871 h 133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740" h="1338">
                <a:moveTo>
                  <a:pt x="1602" y="528"/>
                </a:moveTo>
                <a:lnTo>
                  <a:pt x="1590" y="540"/>
                </a:lnTo>
                <a:lnTo>
                  <a:pt x="1584" y="540"/>
                </a:lnTo>
                <a:lnTo>
                  <a:pt x="1578" y="546"/>
                </a:lnTo>
                <a:lnTo>
                  <a:pt x="1572" y="546"/>
                </a:lnTo>
                <a:lnTo>
                  <a:pt x="1566" y="558"/>
                </a:lnTo>
                <a:lnTo>
                  <a:pt x="1566" y="564"/>
                </a:lnTo>
                <a:lnTo>
                  <a:pt x="1566" y="582"/>
                </a:lnTo>
                <a:lnTo>
                  <a:pt x="1560" y="624"/>
                </a:lnTo>
                <a:lnTo>
                  <a:pt x="1560" y="630"/>
                </a:lnTo>
                <a:lnTo>
                  <a:pt x="1542" y="654"/>
                </a:lnTo>
                <a:lnTo>
                  <a:pt x="1536" y="660"/>
                </a:lnTo>
                <a:lnTo>
                  <a:pt x="1542" y="684"/>
                </a:lnTo>
                <a:lnTo>
                  <a:pt x="1560" y="696"/>
                </a:lnTo>
                <a:lnTo>
                  <a:pt x="1572" y="690"/>
                </a:lnTo>
                <a:lnTo>
                  <a:pt x="1578" y="672"/>
                </a:lnTo>
                <a:lnTo>
                  <a:pt x="1590" y="672"/>
                </a:lnTo>
                <a:lnTo>
                  <a:pt x="1602" y="684"/>
                </a:lnTo>
                <a:lnTo>
                  <a:pt x="1608" y="678"/>
                </a:lnTo>
                <a:lnTo>
                  <a:pt x="1614" y="684"/>
                </a:lnTo>
                <a:lnTo>
                  <a:pt x="1620" y="678"/>
                </a:lnTo>
                <a:lnTo>
                  <a:pt x="1644" y="684"/>
                </a:lnTo>
                <a:lnTo>
                  <a:pt x="1650" y="678"/>
                </a:lnTo>
                <a:lnTo>
                  <a:pt x="1662" y="666"/>
                </a:lnTo>
                <a:lnTo>
                  <a:pt x="1668" y="654"/>
                </a:lnTo>
                <a:lnTo>
                  <a:pt x="1680" y="648"/>
                </a:lnTo>
                <a:lnTo>
                  <a:pt x="1692" y="654"/>
                </a:lnTo>
                <a:lnTo>
                  <a:pt x="1698" y="666"/>
                </a:lnTo>
                <a:lnTo>
                  <a:pt x="1704" y="678"/>
                </a:lnTo>
                <a:lnTo>
                  <a:pt x="1722" y="684"/>
                </a:lnTo>
                <a:lnTo>
                  <a:pt x="1710" y="714"/>
                </a:lnTo>
                <a:lnTo>
                  <a:pt x="1698" y="750"/>
                </a:lnTo>
                <a:lnTo>
                  <a:pt x="1698" y="762"/>
                </a:lnTo>
                <a:lnTo>
                  <a:pt x="1704" y="774"/>
                </a:lnTo>
                <a:lnTo>
                  <a:pt x="1704" y="786"/>
                </a:lnTo>
                <a:lnTo>
                  <a:pt x="1692" y="798"/>
                </a:lnTo>
                <a:lnTo>
                  <a:pt x="1686" y="804"/>
                </a:lnTo>
                <a:lnTo>
                  <a:pt x="1680" y="810"/>
                </a:lnTo>
                <a:lnTo>
                  <a:pt x="1692" y="822"/>
                </a:lnTo>
                <a:lnTo>
                  <a:pt x="1710" y="828"/>
                </a:lnTo>
                <a:lnTo>
                  <a:pt x="1716" y="834"/>
                </a:lnTo>
                <a:lnTo>
                  <a:pt x="1740" y="846"/>
                </a:lnTo>
                <a:lnTo>
                  <a:pt x="1722" y="858"/>
                </a:lnTo>
                <a:lnTo>
                  <a:pt x="1710" y="846"/>
                </a:lnTo>
                <a:lnTo>
                  <a:pt x="1698" y="846"/>
                </a:lnTo>
                <a:lnTo>
                  <a:pt x="1698" y="858"/>
                </a:lnTo>
                <a:lnTo>
                  <a:pt x="1692" y="858"/>
                </a:lnTo>
                <a:lnTo>
                  <a:pt x="1680" y="852"/>
                </a:lnTo>
                <a:lnTo>
                  <a:pt x="1674" y="858"/>
                </a:lnTo>
                <a:lnTo>
                  <a:pt x="1674" y="876"/>
                </a:lnTo>
                <a:lnTo>
                  <a:pt x="1680" y="882"/>
                </a:lnTo>
                <a:lnTo>
                  <a:pt x="1686" y="882"/>
                </a:lnTo>
                <a:lnTo>
                  <a:pt x="1680" y="894"/>
                </a:lnTo>
                <a:lnTo>
                  <a:pt x="1680" y="900"/>
                </a:lnTo>
                <a:lnTo>
                  <a:pt x="1668" y="906"/>
                </a:lnTo>
                <a:lnTo>
                  <a:pt x="1662" y="918"/>
                </a:lnTo>
                <a:lnTo>
                  <a:pt x="1674" y="930"/>
                </a:lnTo>
                <a:lnTo>
                  <a:pt x="1680" y="942"/>
                </a:lnTo>
                <a:lnTo>
                  <a:pt x="1674" y="960"/>
                </a:lnTo>
                <a:lnTo>
                  <a:pt x="1650" y="972"/>
                </a:lnTo>
                <a:lnTo>
                  <a:pt x="1638" y="966"/>
                </a:lnTo>
                <a:lnTo>
                  <a:pt x="1632" y="960"/>
                </a:lnTo>
                <a:lnTo>
                  <a:pt x="1620" y="954"/>
                </a:lnTo>
                <a:lnTo>
                  <a:pt x="1602" y="954"/>
                </a:lnTo>
                <a:lnTo>
                  <a:pt x="1596" y="942"/>
                </a:lnTo>
                <a:lnTo>
                  <a:pt x="1584" y="936"/>
                </a:lnTo>
                <a:lnTo>
                  <a:pt x="1572" y="936"/>
                </a:lnTo>
                <a:lnTo>
                  <a:pt x="1548" y="930"/>
                </a:lnTo>
                <a:lnTo>
                  <a:pt x="1530" y="918"/>
                </a:lnTo>
                <a:lnTo>
                  <a:pt x="1518" y="906"/>
                </a:lnTo>
                <a:lnTo>
                  <a:pt x="1506" y="906"/>
                </a:lnTo>
                <a:lnTo>
                  <a:pt x="1482" y="918"/>
                </a:lnTo>
                <a:lnTo>
                  <a:pt x="1476" y="924"/>
                </a:lnTo>
                <a:lnTo>
                  <a:pt x="1470" y="918"/>
                </a:lnTo>
                <a:lnTo>
                  <a:pt x="1464" y="912"/>
                </a:lnTo>
                <a:lnTo>
                  <a:pt x="1458" y="912"/>
                </a:lnTo>
                <a:lnTo>
                  <a:pt x="1458" y="936"/>
                </a:lnTo>
                <a:lnTo>
                  <a:pt x="1470" y="942"/>
                </a:lnTo>
                <a:lnTo>
                  <a:pt x="1470" y="948"/>
                </a:lnTo>
                <a:lnTo>
                  <a:pt x="1464" y="960"/>
                </a:lnTo>
                <a:lnTo>
                  <a:pt x="1458" y="960"/>
                </a:lnTo>
                <a:lnTo>
                  <a:pt x="1440" y="966"/>
                </a:lnTo>
                <a:lnTo>
                  <a:pt x="1440" y="978"/>
                </a:lnTo>
                <a:lnTo>
                  <a:pt x="1446" y="984"/>
                </a:lnTo>
                <a:lnTo>
                  <a:pt x="1446" y="990"/>
                </a:lnTo>
                <a:lnTo>
                  <a:pt x="1458" y="996"/>
                </a:lnTo>
                <a:lnTo>
                  <a:pt x="1464" y="1002"/>
                </a:lnTo>
                <a:lnTo>
                  <a:pt x="1458" y="1002"/>
                </a:lnTo>
                <a:lnTo>
                  <a:pt x="1440" y="1014"/>
                </a:lnTo>
                <a:lnTo>
                  <a:pt x="1428" y="1002"/>
                </a:lnTo>
                <a:lnTo>
                  <a:pt x="1422" y="1008"/>
                </a:lnTo>
                <a:lnTo>
                  <a:pt x="1422" y="1044"/>
                </a:lnTo>
                <a:lnTo>
                  <a:pt x="1410" y="1050"/>
                </a:lnTo>
                <a:lnTo>
                  <a:pt x="1416" y="1062"/>
                </a:lnTo>
                <a:lnTo>
                  <a:pt x="1428" y="1074"/>
                </a:lnTo>
                <a:lnTo>
                  <a:pt x="1410" y="1080"/>
                </a:lnTo>
                <a:lnTo>
                  <a:pt x="1404" y="1086"/>
                </a:lnTo>
                <a:lnTo>
                  <a:pt x="1398" y="1086"/>
                </a:lnTo>
                <a:lnTo>
                  <a:pt x="1398" y="1092"/>
                </a:lnTo>
                <a:lnTo>
                  <a:pt x="1404" y="1104"/>
                </a:lnTo>
                <a:lnTo>
                  <a:pt x="1392" y="1116"/>
                </a:lnTo>
                <a:lnTo>
                  <a:pt x="1380" y="1128"/>
                </a:lnTo>
                <a:lnTo>
                  <a:pt x="1362" y="1134"/>
                </a:lnTo>
                <a:lnTo>
                  <a:pt x="1368" y="1146"/>
                </a:lnTo>
                <a:lnTo>
                  <a:pt x="1368" y="1158"/>
                </a:lnTo>
                <a:lnTo>
                  <a:pt x="1344" y="1152"/>
                </a:lnTo>
                <a:lnTo>
                  <a:pt x="1344" y="1170"/>
                </a:lnTo>
                <a:lnTo>
                  <a:pt x="1344" y="1176"/>
                </a:lnTo>
                <a:lnTo>
                  <a:pt x="1332" y="1176"/>
                </a:lnTo>
                <a:lnTo>
                  <a:pt x="1326" y="1176"/>
                </a:lnTo>
                <a:lnTo>
                  <a:pt x="1314" y="1176"/>
                </a:lnTo>
                <a:lnTo>
                  <a:pt x="1296" y="1188"/>
                </a:lnTo>
                <a:lnTo>
                  <a:pt x="1302" y="1194"/>
                </a:lnTo>
                <a:lnTo>
                  <a:pt x="1302" y="1200"/>
                </a:lnTo>
                <a:lnTo>
                  <a:pt x="1290" y="1200"/>
                </a:lnTo>
                <a:lnTo>
                  <a:pt x="1284" y="1200"/>
                </a:lnTo>
                <a:lnTo>
                  <a:pt x="1272" y="1194"/>
                </a:lnTo>
                <a:lnTo>
                  <a:pt x="1272" y="1188"/>
                </a:lnTo>
                <a:lnTo>
                  <a:pt x="1272" y="1182"/>
                </a:lnTo>
                <a:lnTo>
                  <a:pt x="1266" y="1182"/>
                </a:lnTo>
                <a:lnTo>
                  <a:pt x="1260" y="1182"/>
                </a:lnTo>
                <a:lnTo>
                  <a:pt x="1254" y="1188"/>
                </a:lnTo>
                <a:lnTo>
                  <a:pt x="1248" y="1188"/>
                </a:lnTo>
                <a:lnTo>
                  <a:pt x="1248" y="1194"/>
                </a:lnTo>
                <a:lnTo>
                  <a:pt x="1248" y="1218"/>
                </a:lnTo>
                <a:lnTo>
                  <a:pt x="1248" y="1230"/>
                </a:lnTo>
                <a:lnTo>
                  <a:pt x="1248" y="1242"/>
                </a:lnTo>
                <a:lnTo>
                  <a:pt x="1224" y="1248"/>
                </a:lnTo>
                <a:lnTo>
                  <a:pt x="1212" y="1242"/>
                </a:lnTo>
                <a:lnTo>
                  <a:pt x="1212" y="1248"/>
                </a:lnTo>
                <a:lnTo>
                  <a:pt x="1200" y="1260"/>
                </a:lnTo>
                <a:lnTo>
                  <a:pt x="1206" y="1266"/>
                </a:lnTo>
                <a:lnTo>
                  <a:pt x="1206" y="1284"/>
                </a:lnTo>
                <a:lnTo>
                  <a:pt x="1212" y="1284"/>
                </a:lnTo>
                <a:lnTo>
                  <a:pt x="1206" y="1296"/>
                </a:lnTo>
                <a:lnTo>
                  <a:pt x="1206" y="1302"/>
                </a:lnTo>
                <a:lnTo>
                  <a:pt x="1194" y="1302"/>
                </a:lnTo>
                <a:lnTo>
                  <a:pt x="1182" y="1302"/>
                </a:lnTo>
                <a:lnTo>
                  <a:pt x="1164" y="1302"/>
                </a:lnTo>
                <a:lnTo>
                  <a:pt x="1158" y="1308"/>
                </a:lnTo>
                <a:lnTo>
                  <a:pt x="1146" y="1302"/>
                </a:lnTo>
                <a:lnTo>
                  <a:pt x="1134" y="1290"/>
                </a:lnTo>
                <a:lnTo>
                  <a:pt x="1134" y="1284"/>
                </a:lnTo>
                <a:lnTo>
                  <a:pt x="1134" y="1278"/>
                </a:lnTo>
                <a:lnTo>
                  <a:pt x="1122" y="1266"/>
                </a:lnTo>
                <a:lnTo>
                  <a:pt x="1104" y="1260"/>
                </a:lnTo>
                <a:lnTo>
                  <a:pt x="1092" y="1254"/>
                </a:lnTo>
                <a:lnTo>
                  <a:pt x="1080" y="1248"/>
                </a:lnTo>
                <a:lnTo>
                  <a:pt x="1086" y="1260"/>
                </a:lnTo>
                <a:lnTo>
                  <a:pt x="1074" y="1266"/>
                </a:lnTo>
                <a:lnTo>
                  <a:pt x="1068" y="1278"/>
                </a:lnTo>
                <a:lnTo>
                  <a:pt x="1062" y="1290"/>
                </a:lnTo>
                <a:lnTo>
                  <a:pt x="1056" y="1302"/>
                </a:lnTo>
                <a:lnTo>
                  <a:pt x="1050" y="1296"/>
                </a:lnTo>
                <a:lnTo>
                  <a:pt x="1044" y="1290"/>
                </a:lnTo>
                <a:lnTo>
                  <a:pt x="1032" y="1290"/>
                </a:lnTo>
                <a:lnTo>
                  <a:pt x="1014" y="1290"/>
                </a:lnTo>
                <a:lnTo>
                  <a:pt x="1002" y="1284"/>
                </a:lnTo>
                <a:lnTo>
                  <a:pt x="996" y="1284"/>
                </a:lnTo>
                <a:lnTo>
                  <a:pt x="990" y="1284"/>
                </a:lnTo>
                <a:lnTo>
                  <a:pt x="978" y="1296"/>
                </a:lnTo>
                <a:lnTo>
                  <a:pt x="966" y="1296"/>
                </a:lnTo>
                <a:lnTo>
                  <a:pt x="948" y="1296"/>
                </a:lnTo>
                <a:lnTo>
                  <a:pt x="948" y="1290"/>
                </a:lnTo>
                <a:lnTo>
                  <a:pt x="936" y="1290"/>
                </a:lnTo>
                <a:lnTo>
                  <a:pt x="930" y="1290"/>
                </a:lnTo>
                <a:lnTo>
                  <a:pt x="924" y="1290"/>
                </a:lnTo>
                <a:lnTo>
                  <a:pt x="918" y="1284"/>
                </a:lnTo>
                <a:lnTo>
                  <a:pt x="906" y="1266"/>
                </a:lnTo>
                <a:lnTo>
                  <a:pt x="888" y="1260"/>
                </a:lnTo>
                <a:lnTo>
                  <a:pt x="888" y="1254"/>
                </a:lnTo>
                <a:lnTo>
                  <a:pt x="870" y="1254"/>
                </a:lnTo>
                <a:lnTo>
                  <a:pt x="864" y="1254"/>
                </a:lnTo>
                <a:lnTo>
                  <a:pt x="858" y="1248"/>
                </a:lnTo>
                <a:lnTo>
                  <a:pt x="846" y="1248"/>
                </a:lnTo>
                <a:lnTo>
                  <a:pt x="840" y="1242"/>
                </a:lnTo>
                <a:lnTo>
                  <a:pt x="834" y="1248"/>
                </a:lnTo>
                <a:lnTo>
                  <a:pt x="834" y="1254"/>
                </a:lnTo>
                <a:lnTo>
                  <a:pt x="822" y="1266"/>
                </a:lnTo>
                <a:lnTo>
                  <a:pt x="810" y="1272"/>
                </a:lnTo>
                <a:lnTo>
                  <a:pt x="798" y="1266"/>
                </a:lnTo>
                <a:lnTo>
                  <a:pt x="792" y="1260"/>
                </a:lnTo>
                <a:lnTo>
                  <a:pt x="786" y="1254"/>
                </a:lnTo>
                <a:lnTo>
                  <a:pt x="768" y="1254"/>
                </a:lnTo>
                <a:lnTo>
                  <a:pt x="750" y="1254"/>
                </a:lnTo>
                <a:lnTo>
                  <a:pt x="738" y="1278"/>
                </a:lnTo>
                <a:lnTo>
                  <a:pt x="726" y="1296"/>
                </a:lnTo>
                <a:lnTo>
                  <a:pt x="714" y="1308"/>
                </a:lnTo>
                <a:lnTo>
                  <a:pt x="708" y="1308"/>
                </a:lnTo>
                <a:lnTo>
                  <a:pt x="690" y="1308"/>
                </a:lnTo>
                <a:lnTo>
                  <a:pt x="672" y="1302"/>
                </a:lnTo>
                <a:lnTo>
                  <a:pt x="666" y="1302"/>
                </a:lnTo>
                <a:lnTo>
                  <a:pt x="642" y="1302"/>
                </a:lnTo>
                <a:lnTo>
                  <a:pt x="636" y="1296"/>
                </a:lnTo>
                <a:lnTo>
                  <a:pt x="624" y="1296"/>
                </a:lnTo>
                <a:lnTo>
                  <a:pt x="612" y="1296"/>
                </a:lnTo>
                <a:lnTo>
                  <a:pt x="606" y="1290"/>
                </a:lnTo>
                <a:lnTo>
                  <a:pt x="582" y="1272"/>
                </a:lnTo>
                <a:lnTo>
                  <a:pt x="570" y="1266"/>
                </a:lnTo>
                <a:lnTo>
                  <a:pt x="564" y="1266"/>
                </a:lnTo>
                <a:lnTo>
                  <a:pt x="552" y="1272"/>
                </a:lnTo>
                <a:lnTo>
                  <a:pt x="540" y="1278"/>
                </a:lnTo>
                <a:lnTo>
                  <a:pt x="522" y="1272"/>
                </a:lnTo>
                <a:lnTo>
                  <a:pt x="510" y="1272"/>
                </a:lnTo>
                <a:lnTo>
                  <a:pt x="492" y="1284"/>
                </a:lnTo>
                <a:lnTo>
                  <a:pt x="486" y="1290"/>
                </a:lnTo>
                <a:lnTo>
                  <a:pt x="468" y="1290"/>
                </a:lnTo>
                <a:lnTo>
                  <a:pt x="450" y="1284"/>
                </a:lnTo>
                <a:lnTo>
                  <a:pt x="444" y="1278"/>
                </a:lnTo>
                <a:lnTo>
                  <a:pt x="426" y="1290"/>
                </a:lnTo>
                <a:lnTo>
                  <a:pt x="408" y="1308"/>
                </a:lnTo>
                <a:lnTo>
                  <a:pt x="402" y="1320"/>
                </a:lnTo>
                <a:lnTo>
                  <a:pt x="402" y="1338"/>
                </a:lnTo>
                <a:lnTo>
                  <a:pt x="390" y="1338"/>
                </a:lnTo>
                <a:lnTo>
                  <a:pt x="378" y="1332"/>
                </a:lnTo>
                <a:lnTo>
                  <a:pt x="378" y="1326"/>
                </a:lnTo>
                <a:lnTo>
                  <a:pt x="378" y="1314"/>
                </a:lnTo>
                <a:lnTo>
                  <a:pt x="372" y="1308"/>
                </a:lnTo>
                <a:lnTo>
                  <a:pt x="360" y="1302"/>
                </a:lnTo>
                <a:lnTo>
                  <a:pt x="348" y="1296"/>
                </a:lnTo>
                <a:lnTo>
                  <a:pt x="342" y="1284"/>
                </a:lnTo>
                <a:lnTo>
                  <a:pt x="336" y="1266"/>
                </a:lnTo>
                <a:lnTo>
                  <a:pt x="330" y="1260"/>
                </a:lnTo>
                <a:lnTo>
                  <a:pt x="318" y="1266"/>
                </a:lnTo>
                <a:lnTo>
                  <a:pt x="312" y="1272"/>
                </a:lnTo>
                <a:lnTo>
                  <a:pt x="306" y="1272"/>
                </a:lnTo>
                <a:lnTo>
                  <a:pt x="282" y="1266"/>
                </a:lnTo>
                <a:lnTo>
                  <a:pt x="270" y="1254"/>
                </a:lnTo>
                <a:lnTo>
                  <a:pt x="258" y="1254"/>
                </a:lnTo>
                <a:lnTo>
                  <a:pt x="246" y="1266"/>
                </a:lnTo>
                <a:lnTo>
                  <a:pt x="234" y="1266"/>
                </a:lnTo>
                <a:lnTo>
                  <a:pt x="222" y="1248"/>
                </a:lnTo>
                <a:lnTo>
                  <a:pt x="216" y="1236"/>
                </a:lnTo>
                <a:lnTo>
                  <a:pt x="204" y="1236"/>
                </a:lnTo>
                <a:lnTo>
                  <a:pt x="186" y="1236"/>
                </a:lnTo>
                <a:lnTo>
                  <a:pt x="168" y="1236"/>
                </a:lnTo>
                <a:lnTo>
                  <a:pt x="150" y="1224"/>
                </a:lnTo>
                <a:lnTo>
                  <a:pt x="132" y="1224"/>
                </a:lnTo>
                <a:lnTo>
                  <a:pt x="120" y="1230"/>
                </a:lnTo>
                <a:lnTo>
                  <a:pt x="108" y="1230"/>
                </a:lnTo>
                <a:lnTo>
                  <a:pt x="102" y="1230"/>
                </a:lnTo>
                <a:lnTo>
                  <a:pt x="90" y="1224"/>
                </a:lnTo>
                <a:lnTo>
                  <a:pt x="108" y="1206"/>
                </a:lnTo>
                <a:lnTo>
                  <a:pt x="114" y="1200"/>
                </a:lnTo>
                <a:lnTo>
                  <a:pt x="108" y="1182"/>
                </a:lnTo>
                <a:lnTo>
                  <a:pt x="120" y="1176"/>
                </a:lnTo>
                <a:lnTo>
                  <a:pt x="126" y="1176"/>
                </a:lnTo>
                <a:lnTo>
                  <a:pt x="132" y="1200"/>
                </a:lnTo>
                <a:lnTo>
                  <a:pt x="150" y="1188"/>
                </a:lnTo>
                <a:lnTo>
                  <a:pt x="156" y="1188"/>
                </a:lnTo>
                <a:lnTo>
                  <a:pt x="162" y="1188"/>
                </a:lnTo>
                <a:lnTo>
                  <a:pt x="168" y="1188"/>
                </a:lnTo>
                <a:lnTo>
                  <a:pt x="174" y="1188"/>
                </a:lnTo>
                <a:lnTo>
                  <a:pt x="168" y="1170"/>
                </a:lnTo>
                <a:lnTo>
                  <a:pt x="180" y="1158"/>
                </a:lnTo>
                <a:lnTo>
                  <a:pt x="174" y="1146"/>
                </a:lnTo>
                <a:lnTo>
                  <a:pt x="168" y="1128"/>
                </a:lnTo>
                <a:lnTo>
                  <a:pt x="174" y="1122"/>
                </a:lnTo>
                <a:lnTo>
                  <a:pt x="174" y="1116"/>
                </a:lnTo>
                <a:lnTo>
                  <a:pt x="186" y="1110"/>
                </a:lnTo>
                <a:lnTo>
                  <a:pt x="180" y="1104"/>
                </a:lnTo>
                <a:lnTo>
                  <a:pt x="168" y="1098"/>
                </a:lnTo>
                <a:lnTo>
                  <a:pt x="168" y="1086"/>
                </a:lnTo>
                <a:lnTo>
                  <a:pt x="168" y="1080"/>
                </a:lnTo>
                <a:lnTo>
                  <a:pt x="162" y="1074"/>
                </a:lnTo>
                <a:lnTo>
                  <a:pt x="156" y="1074"/>
                </a:lnTo>
                <a:lnTo>
                  <a:pt x="144" y="1068"/>
                </a:lnTo>
                <a:lnTo>
                  <a:pt x="132" y="1068"/>
                </a:lnTo>
                <a:lnTo>
                  <a:pt x="114" y="1068"/>
                </a:lnTo>
                <a:lnTo>
                  <a:pt x="102" y="1056"/>
                </a:lnTo>
                <a:lnTo>
                  <a:pt x="114" y="1050"/>
                </a:lnTo>
                <a:lnTo>
                  <a:pt x="114" y="1044"/>
                </a:lnTo>
                <a:lnTo>
                  <a:pt x="114" y="1038"/>
                </a:lnTo>
                <a:lnTo>
                  <a:pt x="108" y="1032"/>
                </a:lnTo>
                <a:lnTo>
                  <a:pt x="96" y="1038"/>
                </a:lnTo>
                <a:lnTo>
                  <a:pt x="90" y="1038"/>
                </a:lnTo>
                <a:lnTo>
                  <a:pt x="72" y="1020"/>
                </a:lnTo>
                <a:lnTo>
                  <a:pt x="72" y="1032"/>
                </a:lnTo>
                <a:lnTo>
                  <a:pt x="72" y="1044"/>
                </a:lnTo>
                <a:lnTo>
                  <a:pt x="66" y="1044"/>
                </a:lnTo>
                <a:lnTo>
                  <a:pt x="60" y="1044"/>
                </a:lnTo>
                <a:lnTo>
                  <a:pt x="54" y="1044"/>
                </a:lnTo>
                <a:lnTo>
                  <a:pt x="54" y="1038"/>
                </a:lnTo>
                <a:lnTo>
                  <a:pt x="54" y="1032"/>
                </a:lnTo>
                <a:lnTo>
                  <a:pt x="48" y="996"/>
                </a:lnTo>
                <a:lnTo>
                  <a:pt x="36" y="984"/>
                </a:lnTo>
                <a:lnTo>
                  <a:pt x="36" y="978"/>
                </a:lnTo>
                <a:lnTo>
                  <a:pt x="36" y="972"/>
                </a:lnTo>
                <a:lnTo>
                  <a:pt x="24" y="948"/>
                </a:lnTo>
                <a:lnTo>
                  <a:pt x="6" y="954"/>
                </a:lnTo>
                <a:lnTo>
                  <a:pt x="0" y="942"/>
                </a:lnTo>
                <a:lnTo>
                  <a:pt x="30" y="930"/>
                </a:lnTo>
                <a:lnTo>
                  <a:pt x="36" y="942"/>
                </a:lnTo>
                <a:lnTo>
                  <a:pt x="54" y="942"/>
                </a:lnTo>
                <a:lnTo>
                  <a:pt x="48" y="912"/>
                </a:lnTo>
                <a:lnTo>
                  <a:pt x="48" y="906"/>
                </a:lnTo>
                <a:lnTo>
                  <a:pt x="48" y="900"/>
                </a:lnTo>
                <a:lnTo>
                  <a:pt x="42" y="894"/>
                </a:lnTo>
                <a:lnTo>
                  <a:pt x="36" y="894"/>
                </a:lnTo>
                <a:lnTo>
                  <a:pt x="30" y="882"/>
                </a:lnTo>
                <a:lnTo>
                  <a:pt x="30" y="870"/>
                </a:lnTo>
                <a:lnTo>
                  <a:pt x="30" y="858"/>
                </a:lnTo>
                <a:lnTo>
                  <a:pt x="12" y="846"/>
                </a:lnTo>
                <a:lnTo>
                  <a:pt x="6" y="840"/>
                </a:lnTo>
                <a:lnTo>
                  <a:pt x="24" y="828"/>
                </a:lnTo>
                <a:lnTo>
                  <a:pt x="42" y="822"/>
                </a:lnTo>
                <a:lnTo>
                  <a:pt x="36" y="810"/>
                </a:lnTo>
                <a:lnTo>
                  <a:pt x="72" y="792"/>
                </a:lnTo>
                <a:lnTo>
                  <a:pt x="66" y="768"/>
                </a:lnTo>
                <a:lnTo>
                  <a:pt x="72" y="768"/>
                </a:lnTo>
                <a:lnTo>
                  <a:pt x="72" y="732"/>
                </a:lnTo>
                <a:lnTo>
                  <a:pt x="54" y="720"/>
                </a:lnTo>
                <a:lnTo>
                  <a:pt x="66" y="708"/>
                </a:lnTo>
                <a:lnTo>
                  <a:pt x="60" y="690"/>
                </a:lnTo>
                <a:lnTo>
                  <a:pt x="60" y="666"/>
                </a:lnTo>
                <a:lnTo>
                  <a:pt x="66" y="666"/>
                </a:lnTo>
                <a:lnTo>
                  <a:pt x="66" y="660"/>
                </a:lnTo>
                <a:lnTo>
                  <a:pt x="66" y="630"/>
                </a:lnTo>
                <a:lnTo>
                  <a:pt x="72" y="582"/>
                </a:lnTo>
                <a:lnTo>
                  <a:pt x="78" y="570"/>
                </a:lnTo>
                <a:lnTo>
                  <a:pt x="84" y="570"/>
                </a:lnTo>
                <a:lnTo>
                  <a:pt x="90" y="564"/>
                </a:lnTo>
                <a:lnTo>
                  <a:pt x="96" y="552"/>
                </a:lnTo>
                <a:lnTo>
                  <a:pt x="96" y="546"/>
                </a:lnTo>
                <a:lnTo>
                  <a:pt x="90" y="534"/>
                </a:lnTo>
                <a:lnTo>
                  <a:pt x="96" y="522"/>
                </a:lnTo>
                <a:lnTo>
                  <a:pt x="96" y="510"/>
                </a:lnTo>
                <a:lnTo>
                  <a:pt x="102" y="504"/>
                </a:lnTo>
                <a:lnTo>
                  <a:pt x="102" y="492"/>
                </a:lnTo>
                <a:lnTo>
                  <a:pt x="96" y="486"/>
                </a:lnTo>
                <a:lnTo>
                  <a:pt x="84" y="474"/>
                </a:lnTo>
                <a:lnTo>
                  <a:pt x="102" y="444"/>
                </a:lnTo>
                <a:lnTo>
                  <a:pt x="126" y="474"/>
                </a:lnTo>
                <a:lnTo>
                  <a:pt x="150" y="498"/>
                </a:lnTo>
                <a:lnTo>
                  <a:pt x="162" y="504"/>
                </a:lnTo>
                <a:lnTo>
                  <a:pt x="168" y="504"/>
                </a:lnTo>
                <a:lnTo>
                  <a:pt x="180" y="504"/>
                </a:lnTo>
                <a:lnTo>
                  <a:pt x="186" y="486"/>
                </a:lnTo>
                <a:lnTo>
                  <a:pt x="192" y="480"/>
                </a:lnTo>
                <a:lnTo>
                  <a:pt x="192" y="468"/>
                </a:lnTo>
                <a:lnTo>
                  <a:pt x="186" y="462"/>
                </a:lnTo>
                <a:lnTo>
                  <a:pt x="210" y="456"/>
                </a:lnTo>
                <a:lnTo>
                  <a:pt x="216" y="462"/>
                </a:lnTo>
                <a:lnTo>
                  <a:pt x="222" y="462"/>
                </a:lnTo>
                <a:lnTo>
                  <a:pt x="234" y="468"/>
                </a:lnTo>
                <a:lnTo>
                  <a:pt x="240" y="468"/>
                </a:lnTo>
                <a:lnTo>
                  <a:pt x="246" y="486"/>
                </a:lnTo>
                <a:lnTo>
                  <a:pt x="264" y="486"/>
                </a:lnTo>
                <a:lnTo>
                  <a:pt x="270" y="480"/>
                </a:lnTo>
                <a:lnTo>
                  <a:pt x="270" y="474"/>
                </a:lnTo>
                <a:lnTo>
                  <a:pt x="270" y="468"/>
                </a:lnTo>
                <a:lnTo>
                  <a:pt x="288" y="462"/>
                </a:lnTo>
                <a:lnTo>
                  <a:pt x="312" y="456"/>
                </a:lnTo>
                <a:lnTo>
                  <a:pt x="318" y="450"/>
                </a:lnTo>
                <a:lnTo>
                  <a:pt x="324" y="450"/>
                </a:lnTo>
                <a:lnTo>
                  <a:pt x="330" y="444"/>
                </a:lnTo>
                <a:lnTo>
                  <a:pt x="348" y="444"/>
                </a:lnTo>
                <a:lnTo>
                  <a:pt x="354" y="438"/>
                </a:lnTo>
                <a:lnTo>
                  <a:pt x="372" y="438"/>
                </a:lnTo>
                <a:lnTo>
                  <a:pt x="378" y="414"/>
                </a:lnTo>
                <a:lnTo>
                  <a:pt x="396" y="396"/>
                </a:lnTo>
                <a:lnTo>
                  <a:pt x="384" y="384"/>
                </a:lnTo>
                <a:lnTo>
                  <a:pt x="384" y="372"/>
                </a:lnTo>
                <a:lnTo>
                  <a:pt x="396" y="342"/>
                </a:lnTo>
                <a:lnTo>
                  <a:pt x="384" y="330"/>
                </a:lnTo>
                <a:lnTo>
                  <a:pt x="384" y="318"/>
                </a:lnTo>
                <a:lnTo>
                  <a:pt x="396" y="306"/>
                </a:lnTo>
                <a:lnTo>
                  <a:pt x="396" y="300"/>
                </a:lnTo>
                <a:lnTo>
                  <a:pt x="402" y="294"/>
                </a:lnTo>
                <a:lnTo>
                  <a:pt x="402" y="288"/>
                </a:lnTo>
                <a:lnTo>
                  <a:pt x="408" y="276"/>
                </a:lnTo>
                <a:lnTo>
                  <a:pt x="420" y="276"/>
                </a:lnTo>
                <a:lnTo>
                  <a:pt x="432" y="276"/>
                </a:lnTo>
                <a:lnTo>
                  <a:pt x="438" y="264"/>
                </a:lnTo>
                <a:lnTo>
                  <a:pt x="462" y="258"/>
                </a:lnTo>
                <a:lnTo>
                  <a:pt x="474" y="270"/>
                </a:lnTo>
                <a:lnTo>
                  <a:pt x="486" y="276"/>
                </a:lnTo>
                <a:lnTo>
                  <a:pt x="492" y="270"/>
                </a:lnTo>
                <a:lnTo>
                  <a:pt x="504" y="264"/>
                </a:lnTo>
                <a:lnTo>
                  <a:pt x="516" y="264"/>
                </a:lnTo>
                <a:lnTo>
                  <a:pt x="522" y="282"/>
                </a:lnTo>
                <a:lnTo>
                  <a:pt x="540" y="282"/>
                </a:lnTo>
                <a:lnTo>
                  <a:pt x="540" y="270"/>
                </a:lnTo>
                <a:lnTo>
                  <a:pt x="552" y="270"/>
                </a:lnTo>
                <a:lnTo>
                  <a:pt x="570" y="276"/>
                </a:lnTo>
                <a:lnTo>
                  <a:pt x="582" y="264"/>
                </a:lnTo>
                <a:lnTo>
                  <a:pt x="594" y="264"/>
                </a:lnTo>
                <a:lnTo>
                  <a:pt x="594" y="252"/>
                </a:lnTo>
                <a:lnTo>
                  <a:pt x="606" y="246"/>
                </a:lnTo>
                <a:lnTo>
                  <a:pt x="618" y="252"/>
                </a:lnTo>
                <a:lnTo>
                  <a:pt x="624" y="270"/>
                </a:lnTo>
                <a:lnTo>
                  <a:pt x="630" y="270"/>
                </a:lnTo>
                <a:lnTo>
                  <a:pt x="636" y="276"/>
                </a:lnTo>
                <a:lnTo>
                  <a:pt x="642" y="276"/>
                </a:lnTo>
                <a:lnTo>
                  <a:pt x="654" y="264"/>
                </a:lnTo>
                <a:lnTo>
                  <a:pt x="648" y="258"/>
                </a:lnTo>
                <a:lnTo>
                  <a:pt x="648" y="252"/>
                </a:lnTo>
                <a:lnTo>
                  <a:pt x="636" y="258"/>
                </a:lnTo>
                <a:lnTo>
                  <a:pt x="636" y="252"/>
                </a:lnTo>
                <a:lnTo>
                  <a:pt x="636" y="246"/>
                </a:lnTo>
                <a:lnTo>
                  <a:pt x="636" y="234"/>
                </a:lnTo>
                <a:lnTo>
                  <a:pt x="630" y="222"/>
                </a:lnTo>
                <a:lnTo>
                  <a:pt x="636" y="216"/>
                </a:lnTo>
                <a:lnTo>
                  <a:pt x="648" y="216"/>
                </a:lnTo>
                <a:lnTo>
                  <a:pt x="654" y="204"/>
                </a:lnTo>
                <a:lnTo>
                  <a:pt x="660" y="198"/>
                </a:lnTo>
                <a:lnTo>
                  <a:pt x="666" y="198"/>
                </a:lnTo>
                <a:lnTo>
                  <a:pt x="672" y="204"/>
                </a:lnTo>
                <a:lnTo>
                  <a:pt x="690" y="204"/>
                </a:lnTo>
                <a:lnTo>
                  <a:pt x="696" y="198"/>
                </a:lnTo>
                <a:lnTo>
                  <a:pt x="702" y="198"/>
                </a:lnTo>
                <a:lnTo>
                  <a:pt x="708" y="198"/>
                </a:lnTo>
                <a:lnTo>
                  <a:pt x="720" y="198"/>
                </a:lnTo>
                <a:lnTo>
                  <a:pt x="726" y="198"/>
                </a:lnTo>
                <a:lnTo>
                  <a:pt x="726" y="192"/>
                </a:lnTo>
                <a:lnTo>
                  <a:pt x="726" y="186"/>
                </a:lnTo>
                <a:lnTo>
                  <a:pt x="732" y="180"/>
                </a:lnTo>
                <a:lnTo>
                  <a:pt x="744" y="174"/>
                </a:lnTo>
                <a:lnTo>
                  <a:pt x="750" y="168"/>
                </a:lnTo>
                <a:lnTo>
                  <a:pt x="744" y="150"/>
                </a:lnTo>
                <a:lnTo>
                  <a:pt x="744" y="132"/>
                </a:lnTo>
                <a:lnTo>
                  <a:pt x="738" y="126"/>
                </a:lnTo>
                <a:lnTo>
                  <a:pt x="714" y="114"/>
                </a:lnTo>
                <a:lnTo>
                  <a:pt x="714" y="108"/>
                </a:lnTo>
                <a:lnTo>
                  <a:pt x="714" y="102"/>
                </a:lnTo>
                <a:lnTo>
                  <a:pt x="708" y="78"/>
                </a:lnTo>
                <a:lnTo>
                  <a:pt x="702" y="60"/>
                </a:lnTo>
                <a:lnTo>
                  <a:pt x="732" y="48"/>
                </a:lnTo>
                <a:lnTo>
                  <a:pt x="756" y="36"/>
                </a:lnTo>
                <a:lnTo>
                  <a:pt x="768" y="30"/>
                </a:lnTo>
                <a:lnTo>
                  <a:pt x="768" y="36"/>
                </a:lnTo>
                <a:lnTo>
                  <a:pt x="780" y="36"/>
                </a:lnTo>
                <a:lnTo>
                  <a:pt x="786" y="36"/>
                </a:lnTo>
                <a:lnTo>
                  <a:pt x="798" y="36"/>
                </a:lnTo>
                <a:lnTo>
                  <a:pt x="804" y="36"/>
                </a:lnTo>
                <a:lnTo>
                  <a:pt x="816" y="30"/>
                </a:lnTo>
                <a:lnTo>
                  <a:pt x="828" y="30"/>
                </a:lnTo>
                <a:lnTo>
                  <a:pt x="834" y="30"/>
                </a:lnTo>
                <a:lnTo>
                  <a:pt x="840" y="24"/>
                </a:lnTo>
                <a:lnTo>
                  <a:pt x="852" y="18"/>
                </a:lnTo>
                <a:lnTo>
                  <a:pt x="858" y="18"/>
                </a:lnTo>
                <a:lnTo>
                  <a:pt x="870" y="12"/>
                </a:lnTo>
                <a:lnTo>
                  <a:pt x="876" y="6"/>
                </a:lnTo>
                <a:lnTo>
                  <a:pt x="894" y="0"/>
                </a:lnTo>
                <a:lnTo>
                  <a:pt x="900" y="12"/>
                </a:lnTo>
                <a:lnTo>
                  <a:pt x="912" y="12"/>
                </a:lnTo>
                <a:lnTo>
                  <a:pt x="936" y="30"/>
                </a:lnTo>
                <a:lnTo>
                  <a:pt x="924" y="42"/>
                </a:lnTo>
                <a:lnTo>
                  <a:pt x="930" y="48"/>
                </a:lnTo>
                <a:lnTo>
                  <a:pt x="930" y="60"/>
                </a:lnTo>
                <a:lnTo>
                  <a:pt x="924" y="72"/>
                </a:lnTo>
                <a:lnTo>
                  <a:pt x="930" y="78"/>
                </a:lnTo>
                <a:lnTo>
                  <a:pt x="942" y="102"/>
                </a:lnTo>
                <a:lnTo>
                  <a:pt x="948" y="102"/>
                </a:lnTo>
                <a:lnTo>
                  <a:pt x="954" y="96"/>
                </a:lnTo>
                <a:lnTo>
                  <a:pt x="960" y="102"/>
                </a:lnTo>
                <a:lnTo>
                  <a:pt x="966" y="108"/>
                </a:lnTo>
                <a:lnTo>
                  <a:pt x="972" y="108"/>
                </a:lnTo>
                <a:lnTo>
                  <a:pt x="990" y="102"/>
                </a:lnTo>
                <a:lnTo>
                  <a:pt x="996" y="120"/>
                </a:lnTo>
                <a:lnTo>
                  <a:pt x="996" y="132"/>
                </a:lnTo>
                <a:lnTo>
                  <a:pt x="996" y="150"/>
                </a:lnTo>
                <a:lnTo>
                  <a:pt x="996" y="156"/>
                </a:lnTo>
                <a:lnTo>
                  <a:pt x="990" y="168"/>
                </a:lnTo>
                <a:lnTo>
                  <a:pt x="990" y="174"/>
                </a:lnTo>
                <a:lnTo>
                  <a:pt x="996" y="186"/>
                </a:lnTo>
                <a:lnTo>
                  <a:pt x="996" y="204"/>
                </a:lnTo>
                <a:lnTo>
                  <a:pt x="996" y="222"/>
                </a:lnTo>
                <a:lnTo>
                  <a:pt x="996" y="228"/>
                </a:lnTo>
                <a:lnTo>
                  <a:pt x="1008" y="234"/>
                </a:lnTo>
                <a:lnTo>
                  <a:pt x="1014" y="234"/>
                </a:lnTo>
                <a:lnTo>
                  <a:pt x="1020" y="240"/>
                </a:lnTo>
                <a:lnTo>
                  <a:pt x="1026" y="246"/>
                </a:lnTo>
                <a:lnTo>
                  <a:pt x="1032" y="246"/>
                </a:lnTo>
                <a:lnTo>
                  <a:pt x="1050" y="234"/>
                </a:lnTo>
                <a:lnTo>
                  <a:pt x="1056" y="246"/>
                </a:lnTo>
                <a:lnTo>
                  <a:pt x="1062" y="258"/>
                </a:lnTo>
                <a:lnTo>
                  <a:pt x="1056" y="264"/>
                </a:lnTo>
                <a:lnTo>
                  <a:pt x="1050" y="270"/>
                </a:lnTo>
                <a:lnTo>
                  <a:pt x="1050" y="276"/>
                </a:lnTo>
                <a:lnTo>
                  <a:pt x="1044" y="288"/>
                </a:lnTo>
                <a:lnTo>
                  <a:pt x="1038" y="294"/>
                </a:lnTo>
                <a:lnTo>
                  <a:pt x="1038" y="300"/>
                </a:lnTo>
                <a:lnTo>
                  <a:pt x="1038" y="312"/>
                </a:lnTo>
                <a:lnTo>
                  <a:pt x="1032" y="318"/>
                </a:lnTo>
                <a:lnTo>
                  <a:pt x="1032" y="324"/>
                </a:lnTo>
                <a:lnTo>
                  <a:pt x="1020" y="336"/>
                </a:lnTo>
                <a:lnTo>
                  <a:pt x="1014" y="342"/>
                </a:lnTo>
                <a:lnTo>
                  <a:pt x="1008" y="342"/>
                </a:lnTo>
                <a:lnTo>
                  <a:pt x="1008" y="348"/>
                </a:lnTo>
                <a:lnTo>
                  <a:pt x="996" y="354"/>
                </a:lnTo>
                <a:lnTo>
                  <a:pt x="996" y="360"/>
                </a:lnTo>
                <a:lnTo>
                  <a:pt x="996" y="366"/>
                </a:lnTo>
                <a:lnTo>
                  <a:pt x="1002" y="372"/>
                </a:lnTo>
                <a:lnTo>
                  <a:pt x="1014" y="372"/>
                </a:lnTo>
                <a:lnTo>
                  <a:pt x="1020" y="366"/>
                </a:lnTo>
                <a:lnTo>
                  <a:pt x="1026" y="366"/>
                </a:lnTo>
                <a:lnTo>
                  <a:pt x="1038" y="360"/>
                </a:lnTo>
                <a:lnTo>
                  <a:pt x="1050" y="354"/>
                </a:lnTo>
                <a:lnTo>
                  <a:pt x="1062" y="342"/>
                </a:lnTo>
                <a:lnTo>
                  <a:pt x="1068" y="342"/>
                </a:lnTo>
                <a:lnTo>
                  <a:pt x="1080" y="324"/>
                </a:lnTo>
                <a:lnTo>
                  <a:pt x="1104" y="306"/>
                </a:lnTo>
                <a:lnTo>
                  <a:pt x="1104" y="294"/>
                </a:lnTo>
                <a:lnTo>
                  <a:pt x="1116" y="294"/>
                </a:lnTo>
                <a:lnTo>
                  <a:pt x="1122" y="294"/>
                </a:lnTo>
                <a:lnTo>
                  <a:pt x="1128" y="270"/>
                </a:lnTo>
                <a:lnTo>
                  <a:pt x="1116" y="264"/>
                </a:lnTo>
                <a:lnTo>
                  <a:pt x="1128" y="264"/>
                </a:lnTo>
                <a:lnTo>
                  <a:pt x="1134" y="264"/>
                </a:lnTo>
                <a:lnTo>
                  <a:pt x="1140" y="264"/>
                </a:lnTo>
                <a:lnTo>
                  <a:pt x="1140" y="252"/>
                </a:lnTo>
                <a:lnTo>
                  <a:pt x="1140" y="246"/>
                </a:lnTo>
                <a:lnTo>
                  <a:pt x="1140" y="234"/>
                </a:lnTo>
                <a:lnTo>
                  <a:pt x="1140" y="228"/>
                </a:lnTo>
                <a:lnTo>
                  <a:pt x="1146" y="222"/>
                </a:lnTo>
                <a:lnTo>
                  <a:pt x="1140" y="210"/>
                </a:lnTo>
                <a:lnTo>
                  <a:pt x="1134" y="198"/>
                </a:lnTo>
                <a:lnTo>
                  <a:pt x="1140" y="192"/>
                </a:lnTo>
                <a:lnTo>
                  <a:pt x="1158" y="198"/>
                </a:lnTo>
                <a:lnTo>
                  <a:pt x="1164" y="210"/>
                </a:lnTo>
                <a:lnTo>
                  <a:pt x="1170" y="210"/>
                </a:lnTo>
                <a:lnTo>
                  <a:pt x="1188" y="204"/>
                </a:lnTo>
                <a:lnTo>
                  <a:pt x="1194" y="204"/>
                </a:lnTo>
                <a:lnTo>
                  <a:pt x="1188" y="216"/>
                </a:lnTo>
                <a:lnTo>
                  <a:pt x="1194" y="222"/>
                </a:lnTo>
                <a:lnTo>
                  <a:pt x="1200" y="222"/>
                </a:lnTo>
                <a:lnTo>
                  <a:pt x="1206" y="222"/>
                </a:lnTo>
                <a:lnTo>
                  <a:pt x="1212" y="222"/>
                </a:lnTo>
                <a:lnTo>
                  <a:pt x="1218" y="228"/>
                </a:lnTo>
                <a:lnTo>
                  <a:pt x="1224" y="240"/>
                </a:lnTo>
                <a:lnTo>
                  <a:pt x="1224" y="252"/>
                </a:lnTo>
                <a:lnTo>
                  <a:pt x="1218" y="258"/>
                </a:lnTo>
                <a:lnTo>
                  <a:pt x="1218" y="270"/>
                </a:lnTo>
                <a:lnTo>
                  <a:pt x="1224" y="276"/>
                </a:lnTo>
                <a:lnTo>
                  <a:pt x="1224" y="282"/>
                </a:lnTo>
                <a:lnTo>
                  <a:pt x="1230" y="288"/>
                </a:lnTo>
                <a:lnTo>
                  <a:pt x="1224" y="300"/>
                </a:lnTo>
                <a:lnTo>
                  <a:pt x="1224" y="306"/>
                </a:lnTo>
                <a:lnTo>
                  <a:pt x="1212" y="336"/>
                </a:lnTo>
                <a:lnTo>
                  <a:pt x="1236" y="330"/>
                </a:lnTo>
                <a:lnTo>
                  <a:pt x="1242" y="348"/>
                </a:lnTo>
                <a:lnTo>
                  <a:pt x="1242" y="354"/>
                </a:lnTo>
                <a:lnTo>
                  <a:pt x="1260" y="342"/>
                </a:lnTo>
                <a:lnTo>
                  <a:pt x="1272" y="330"/>
                </a:lnTo>
                <a:lnTo>
                  <a:pt x="1278" y="336"/>
                </a:lnTo>
                <a:lnTo>
                  <a:pt x="1284" y="342"/>
                </a:lnTo>
                <a:lnTo>
                  <a:pt x="1284" y="348"/>
                </a:lnTo>
                <a:lnTo>
                  <a:pt x="1278" y="354"/>
                </a:lnTo>
                <a:lnTo>
                  <a:pt x="1284" y="360"/>
                </a:lnTo>
                <a:lnTo>
                  <a:pt x="1290" y="372"/>
                </a:lnTo>
                <a:lnTo>
                  <a:pt x="1290" y="384"/>
                </a:lnTo>
                <a:lnTo>
                  <a:pt x="1308" y="396"/>
                </a:lnTo>
                <a:lnTo>
                  <a:pt x="1326" y="420"/>
                </a:lnTo>
                <a:lnTo>
                  <a:pt x="1338" y="396"/>
                </a:lnTo>
                <a:lnTo>
                  <a:pt x="1350" y="402"/>
                </a:lnTo>
                <a:lnTo>
                  <a:pt x="1368" y="432"/>
                </a:lnTo>
                <a:lnTo>
                  <a:pt x="1380" y="438"/>
                </a:lnTo>
                <a:lnTo>
                  <a:pt x="1404" y="444"/>
                </a:lnTo>
                <a:lnTo>
                  <a:pt x="1416" y="468"/>
                </a:lnTo>
                <a:lnTo>
                  <a:pt x="1428" y="474"/>
                </a:lnTo>
                <a:lnTo>
                  <a:pt x="1440" y="486"/>
                </a:lnTo>
                <a:lnTo>
                  <a:pt x="1452" y="498"/>
                </a:lnTo>
                <a:lnTo>
                  <a:pt x="1458" y="504"/>
                </a:lnTo>
                <a:lnTo>
                  <a:pt x="1464" y="492"/>
                </a:lnTo>
                <a:lnTo>
                  <a:pt x="1476" y="492"/>
                </a:lnTo>
                <a:lnTo>
                  <a:pt x="1488" y="498"/>
                </a:lnTo>
                <a:lnTo>
                  <a:pt x="1500" y="516"/>
                </a:lnTo>
                <a:lnTo>
                  <a:pt x="1512" y="510"/>
                </a:lnTo>
                <a:lnTo>
                  <a:pt x="1518" y="516"/>
                </a:lnTo>
                <a:lnTo>
                  <a:pt x="1530" y="528"/>
                </a:lnTo>
                <a:lnTo>
                  <a:pt x="1548" y="522"/>
                </a:lnTo>
                <a:lnTo>
                  <a:pt x="1560" y="522"/>
                </a:lnTo>
                <a:lnTo>
                  <a:pt x="1572" y="528"/>
                </a:lnTo>
                <a:lnTo>
                  <a:pt x="1602" y="528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68" name="Freeform 12"/>
          <p:cNvSpPr>
            <a:spLocks/>
          </p:cNvSpPr>
          <p:nvPr/>
        </p:nvSpPr>
        <p:spPr bwMode="gray">
          <a:xfrm>
            <a:off x="1189038" y="4467225"/>
            <a:ext cx="1660525" cy="2206625"/>
          </a:xfrm>
          <a:custGeom>
            <a:avLst/>
            <a:gdLst>
              <a:gd name="T0" fmla="*/ 124386 w 1722"/>
              <a:gd name="T1" fmla="*/ 17968 h 2292"/>
              <a:gd name="T2" fmla="*/ 122749 w 1722"/>
              <a:gd name="T3" fmla="*/ 31035 h 2292"/>
              <a:gd name="T4" fmla="*/ 121113 w 1722"/>
              <a:gd name="T5" fmla="*/ 36752 h 2292"/>
              <a:gd name="T6" fmla="*/ 117021 w 1722"/>
              <a:gd name="T7" fmla="*/ 44919 h 2292"/>
              <a:gd name="T8" fmla="*/ 116203 w 1722"/>
              <a:gd name="T9" fmla="*/ 52270 h 2292"/>
              <a:gd name="T10" fmla="*/ 113748 w 1722"/>
              <a:gd name="T11" fmla="*/ 58804 h 2292"/>
              <a:gd name="T12" fmla="*/ 116203 w 1722"/>
              <a:gd name="T13" fmla="*/ 75955 h 2292"/>
              <a:gd name="T14" fmla="*/ 112930 w 1722"/>
              <a:gd name="T15" fmla="*/ 84938 h 2292"/>
              <a:gd name="T16" fmla="*/ 120294 w 1722"/>
              <a:gd name="T17" fmla="*/ 93106 h 2292"/>
              <a:gd name="T18" fmla="*/ 114566 w 1722"/>
              <a:gd name="T19" fmla="*/ 97189 h 2292"/>
              <a:gd name="T20" fmla="*/ 108020 w 1722"/>
              <a:gd name="T21" fmla="*/ 99639 h 2292"/>
              <a:gd name="T22" fmla="*/ 103110 w 1722"/>
              <a:gd name="T23" fmla="*/ 109440 h 2292"/>
              <a:gd name="T24" fmla="*/ 95745 w 1722"/>
              <a:gd name="T25" fmla="*/ 111073 h 2292"/>
              <a:gd name="T26" fmla="*/ 90016 w 1722"/>
              <a:gd name="T27" fmla="*/ 113524 h 2292"/>
              <a:gd name="T28" fmla="*/ 85925 w 1722"/>
              <a:gd name="T29" fmla="*/ 117607 h 2292"/>
              <a:gd name="T30" fmla="*/ 82651 w 1722"/>
              <a:gd name="T31" fmla="*/ 129858 h 2292"/>
              <a:gd name="T32" fmla="*/ 81015 w 1722"/>
              <a:gd name="T33" fmla="*/ 140475 h 2292"/>
              <a:gd name="T34" fmla="*/ 79378 w 1722"/>
              <a:gd name="T35" fmla="*/ 147009 h 2292"/>
              <a:gd name="T36" fmla="*/ 84288 w 1722"/>
              <a:gd name="T37" fmla="*/ 152726 h 2292"/>
              <a:gd name="T38" fmla="*/ 88380 w 1722"/>
              <a:gd name="T39" fmla="*/ 155176 h 2292"/>
              <a:gd name="T40" fmla="*/ 90835 w 1722"/>
              <a:gd name="T41" fmla="*/ 159260 h 2292"/>
              <a:gd name="T42" fmla="*/ 87561 w 1722"/>
              <a:gd name="T43" fmla="*/ 162526 h 2292"/>
              <a:gd name="T44" fmla="*/ 81015 w 1722"/>
              <a:gd name="T45" fmla="*/ 157626 h 2292"/>
              <a:gd name="T46" fmla="*/ 70376 w 1722"/>
              <a:gd name="T47" fmla="*/ 154359 h 2292"/>
              <a:gd name="T48" fmla="*/ 60556 w 1722"/>
              <a:gd name="T49" fmla="*/ 153543 h 2292"/>
              <a:gd name="T50" fmla="*/ 57283 w 1722"/>
              <a:gd name="T51" fmla="*/ 155993 h 2292"/>
              <a:gd name="T52" fmla="*/ 52373 w 1722"/>
              <a:gd name="T53" fmla="*/ 154359 h 2292"/>
              <a:gd name="T54" fmla="*/ 55646 w 1722"/>
              <a:gd name="T55" fmla="*/ 152726 h 2292"/>
              <a:gd name="T56" fmla="*/ 54828 w 1722"/>
              <a:gd name="T57" fmla="*/ 151092 h 2292"/>
              <a:gd name="T58" fmla="*/ 53191 w 1722"/>
              <a:gd name="T59" fmla="*/ 150276 h 2292"/>
              <a:gd name="T60" fmla="*/ 50736 w 1722"/>
              <a:gd name="T61" fmla="*/ 151092 h 2292"/>
              <a:gd name="T62" fmla="*/ 48281 w 1722"/>
              <a:gd name="T63" fmla="*/ 148642 h 2292"/>
              <a:gd name="T64" fmla="*/ 47463 w 1722"/>
              <a:gd name="T65" fmla="*/ 146192 h 2292"/>
              <a:gd name="T66" fmla="*/ 45008 w 1722"/>
              <a:gd name="T67" fmla="*/ 143742 h 2292"/>
              <a:gd name="T68" fmla="*/ 42553 w 1722"/>
              <a:gd name="T69" fmla="*/ 140475 h 2292"/>
              <a:gd name="T70" fmla="*/ 40916 w 1722"/>
              <a:gd name="T71" fmla="*/ 138842 h 2292"/>
              <a:gd name="T72" fmla="*/ 36825 w 1722"/>
              <a:gd name="T73" fmla="*/ 136392 h 2292"/>
              <a:gd name="T74" fmla="*/ 36825 w 1722"/>
              <a:gd name="T75" fmla="*/ 132308 h 2292"/>
              <a:gd name="T76" fmla="*/ 33552 w 1722"/>
              <a:gd name="T77" fmla="*/ 132308 h 2292"/>
              <a:gd name="T78" fmla="*/ 29460 w 1722"/>
              <a:gd name="T79" fmla="*/ 124141 h 2292"/>
              <a:gd name="T80" fmla="*/ 21277 w 1722"/>
              <a:gd name="T81" fmla="*/ 120874 h 2292"/>
              <a:gd name="T82" fmla="*/ 10638 w 1722"/>
              <a:gd name="T83" fmla="*/ 116790 h 2292"/>
              <a:gd name="T84" fmla="*/ 4910 w 1722"/>
              <a:gd name="T85" fmla="*/ 113524 h 2292"/>
              <a:gd name="T86" fmla="*/ 818 w 1722"/>
              <a:gd name="T87" fmla="*/ 105356 h 2292"/>
              <a:gd name="T88" fmla="*/ 7365 w 1722"/>
              <a:gd name="T89" fmla="*/ 104540 h 2292"/>
              <a:gd name="T90" fmla="*/ 12275 w 1722"/>
              <a:gd name="T91" fmla="*/ 102906 h 2292"/>
              <a:gd name="T92" fmla="*/ 17185 w 1722"/>
              <a:gd name="T93" fmla="*/ 103723 h 2292"/>
              <a:gd name="T94" fmla="*/ 20458 w 1722"/>
              <a:gd name="T95" fmla="*/ 98006 h 2292"/>
              <a:gd name="T96" fmla="*/ 18822 w 1722"/>
              <a:gd name="T97" fmla="*/ 88205 h 2292"/>
              <a:gd name="T98" fmla="*/ 24550 w 1722"/>
              <a:gd name="T99" fmla="*/ 87389 h 2292"/>
              <a:gd name="T100" fmla="*/ 30278 w 1722"/>
              <a:gd name="T101" fmla="*/ 83305 h 2292"/>
              <a:gd name="T102" fmla="*/ 32733 w 1722"/>
              <a:gd name="T103" fmla="*/ 72688 h 2292"/>
              <a:gd name="T104" fmla="*/ 30278 w 1722"/>
              <a:gd name="T105" fmla="*/ 60437 h 2292"/>
              <a:gd name="T106" fmla="*/ 30278 w 1722"/>
              <a:gd name="T107" fmla="*/ 50636 h 2292"/>
              <a:gd name="T108" fmla="*/ 33552 w 1722"/>
              <a:gd name="T109" fmla="*/ 43286 h 2292"/>
              <a:gd name="T110" fmla="*/ 45826 w 1722"/>
              <a:gd name="T111" fmla="*/ 40019 h 2292"/>
              <a:gd name="T112" fmla="*/ 58920 w 1722"/>
              <a:gd name="T113" fmla="*/ 35119 h 2292"/>
              <a:gd name="T114" fmla="*/ 76105 w 1722"/>
              <a:gd name="T115" fmla="*/ 22868 h 2292"/>
              <a:gd name="T116" fmla="*/ 92471 w 1722"/>
              <a:gd name="T117" fmla="*/ 14701 h 2292"/>
              <a:gd name="T118" fmla="*/ 99836 w 1722"/>
              <a:gd name="T119" fmla="*/ 5717 h 229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722" h="2292">
                <a:moveTo>
                  <a:pt x="1638" y="42"/>
                </a:moveTo>
                <a:lnTo>
                  <a:pt x="1662" y="60"/>
                </a:lnTo>
                <a:lnTo>
                  <a:pt x="1662" y="78"/>
                </a:lnTo>
                <a:lnTo>
                  <a:pt x="1680" y="96"/>
                </a:lnTo>
                <a:lnTo>
                  <a:pt x="1698" y="108"/>
                </a:lnTo>
                <a:lnTo>
                  <a:pt x="1710" y="132"/>
                </a:lnTo>
                <a:lnTo>
                  <a:pt x="1692" y="168"/>
                </a:lnTo>
                <a:lnTo>
                  <a:pt x="1722" y="186"/>
                </a:lnTo>
                <a:lnTo>
                  <a:pt x="1698" y="198"/>
                </a:lnTo>
                <a:lnTo>
                  <a:pt x="1704" y="216"/>
                </a:lnTo>
                <a:lnTo>
                  <a:pt x="1710" y="246"/>
                </a:lnTo>
                <a:lnTo>
                  <a:pt x="1710" y="270"/>
                </a:lnTo>
                <a:lnTo>
                  <a:pt x="1710" y="288"/>
                </a:lnTo>
                <a:lnTo>
                  <a:pt x="1716" y="342"/>
                </a:lnTo>
                <a:lnTo>
                  <a:pt x="1722" y="360"/>
                </a:lnTo>
                <a:lnTo>
                  <a:pt x="1704" y="366"/>
                </a:lnTo>
                <a:lnTo>
                  <a:pt x="1692" y="372"/>
                </a:lnTo>
                <a:lnTo>
                  <a:pt x="1686" y="366"/>
                </a:lnTo>
                <a:lnTo>
                  <a:pt x="1674" y="378"/>
                </a:lnTo>
                <a:lnTo>
                  <a:pt x="1680" y="396"/>
                </a:lnTo>
                <a:lnTo>
                  <a:pt x="1686" y="402"/>
                </a:lnTo>
                <a:lnTo>
                  <a:pt x="1686" y="426"/>
                </a:lnTo>
                <a:lnTo>
                  <a:pt x="1674" y="432"/>
                </a:lnTo>
                <a:lnTo>
                  <a:pt x="1662" y="420"/>
                </a:lnTo>
                <a:lnTo>
                  <a:pt x="1650" y="420"/>
                </a:lnTo>
                <a:lnTo>
                  <a:pt x="1656" y="432"/>
                </a:lnTo>
                <a:lnTo>
                  <a:pt x="1644" y="438"/>
                </a:lnTo>
                <a:lnTo>
                  <a:pt x="1644" y="444"/>
                </a:lnTo>
                <a:lnTo>
                  <a:pt x="1638" y="456"/>
                </a:lnTo>
                <a:lnTo>
                  <a:pt x="1614" y="462"/>
                </a:lnTo>
                <a:lnTo>
                  <a:pt x="1626" y="486"/>
                </a:lnTo>
                <a:lnTo>
                  <a:pt x="1644" y="510"/>
                </a:lnTo>
                <a:lnTo>
                  <a:pt x="1662" y="504"/>
                </a:lnTo>
                <a:lnTo>
                  <a:pt x="1668" y="516"/>
                </a:lnTo>
                <a:lnTo>
                  <a:pt x="1656" y="522"/>
                </a:lnTo>
                <a:lnTo>
                  <a:pt x="1656" y="546"/>
                </a:lnTo>
                <a:lnTo>
                  <a:pt x="1638" y="540"/>
                </a:lnTo>
                <a:lnTo>
                  <a:pt x="1644" y="546"/>
                </a:lnTo>
                <a:lnTo>
                  <a:pt x="1638" y="564"/>
                </a:lnTo>
                <a:lnTo>
                  <a:pt x="1650" y="582"/>
                </a:lnTo>
                <a:lnTo>
                  <a:pt x="1638" y="588"/>
                </a:lnTo>
                <a:lnTo>
                  <a:pt x="1620" y="600"/>
                </a:lnTo>
                <a:lnTo>
                  <a:pt x="1608" y="612"/>
                </a:lnTo>
                <a:lnTo>
                  <a:pt x="1608" y="618"/>
                </a:lnTo>
                <a:lnTo>
                  <a:pt x="1608" y="624"/>
                </a:lnTo>
                <a:lnTo>
                  <a:pt x="1602" y="624"/>
                </a:lnTo>
                <a:lnTo>
                  <a:pt x="1620" y="648"/>
                </a:lnTo>
                <a:lnTo>
                  <a:pt x="1608" y="660"/>
                </a:lnTo>
                <a:lnTo>
                  <a:pt x="1602" y="678"/>
                </a:lnTo>
                <a:lnTo>
                  <a:pt x="1602" y="684"/>
                </a:lnTo>
                <a:lnTo>
                  <a:pt x="1590" y="690"/>
                </a:lnTo>
                <a:lnTo>
                  <a:pt x="1578" y="702"/>
                </a:lnTo>
                <a:lnTo>
                  <a:pt x="1578" y="714"/>
                </a:lnTo>
                <a:lnTo>
                  <a:pt x="1584" y="726"/>
                </a:lnTo>
                <a:lnTo>
                  <a:pt x="1590" y="726"/>
                </a:lnTo>
                <a:lnTo>
                  <a:pt x="1602" y="738"/>
                </a:lnTo>
                <a:lnTo>
                  <a:pt x="1608" y="756"/>
                </a:lnTo>
                <a:lnTo>
                  <a:pt x="1608" y="762"/>
                </a:lnTo>
                <a:lnTo>
                  <a:pt x="1602" y="762"/>
                </a:lnTo>
                <a:lnTo>
                  <a:pt x="1596" y="762"/>
                </a:lnTo>
                <a:lnTo>
                  <a:pt x="1584" y="768"/>
                </a:lnTo>
                <a:lnTo>
                  <a:pt x="1584" y="774"/>
                </a:lnTo>
                <a:lnTo>
                  <a:pt x="1584" y="780"/>
                </a:lnTo>
                <a:lnTo>
                  <a:pt x="1584" y="786"/>
                </a:lnTo>
                <a:lnTo>
                  <a:pt x="1584" y="798"/>
                </a:lnTo>
                <a:lnTo>
                  <a:pt x="1566" y="816"/>
                </a:lnTo>
                <a:lnTo>
                  <a:pt x="1554" y="804"/>
                </a:lnTo>
                <a:lnTo>
                  <a:pt x="1554" y="834"/>
                </a:lnTo>
                <a:lnTo>
                  <a:pt x="1548" y="846"/>
                </a:lnTo>
                <a:lnTo>
                  <a:pt x="1548" y="852"/>
                </a:lnTo>
                <a:lnTo>
                  <a:pt x="1554" y="870"/>
                </a:lnTo>
                <a:lnTo>
                  <a:pt x="1554" y="882"/>
                </a:lnTo>
                <a:lnTo>
                  <a:pt x="1554" y="900"/>
                </a:lnTo>
                <a:lnTo>
                  <a:pt x="1548" y="930"/>
                </a:lnTo>
                <a:lnTo>
                  <a:pt x="1548" y="942"/>
                </a:lnTo>
                <a:lnTo>
                  <a:pt x="1584" y="1026"/>
                </a:lnTo>
                <a:lnTo>
                  <a:pt x="1596" y="1050"/>
                </a:lnTo>
                <a:lnTo>
                  <a:pt x="1590" y="1074"/>
                </a:lnTo>
                <a:lnTo>
                  <a:pt x="1602" y="1080"/>
                </a:lnTo>
                <a:lnTo>
                  <a:pt x="1602" y="1086"/>
                </a:lnTo>
                <a:lnTo>
                  <a:pt x="1608" y="1110"/>
                </a:lnTo>
                <a:lnTo>
                  <a:pt x="1590" y="1104"/>
                </a:lnTo>
                <a:lnTo>
                  <a:pt x="1590" y="1122"/>
                </a:lnTo>
                <a:lnTo>
                  <a:pt x="1566" y="1134"/>
                </a:lnTo>
                <a:lnTo>
                  <a:pt x="1560" y="1140"/>
                </a:lnTo>
                <a:lnTo>
                  <a:pt x="1548" y="1140"/>
                </a:lnTo>
                <a:lnTo>
                  <a:pt x="1536" y="1146"/>
                </a:lnTo>
                <a:lnTo>
                  <a:pt x="1554" y="1170"/>
                </a:lnTo>
                <a:lnTo>
                  <a:pt x="1566" y="1170"/>
                </a:lnTo>
                <a:lnTo>
                  <a:pt x="1572" y="1176"/>
                </a:lnTo>
                <a:lnTo>
                  <a:pt x="1596" y="1164"/>
                </a:lnTo>
                <a:lnTo>
                  <a:pt x="1602" y="1182"/>
                </a:lnTo>
                <a:lnTo>
                  <a:pt x="1608" y="1188"/>
                </a:lnTo>
                <a:lnTo>
                  <a:pt x="1614" y="1200"/>
                </a:lnTo>
                <a:lnTo>
                  <a:pt x="1638" y="1194"/>
                </a:lnTo>
                <a:lnTo>
                  <a:pt x="1644" y="1224"/>
                </a:lnTo>
                <a:lnTo>
                  <a:pt x="1650" y="1224"/>
                </a:lnTo>
                <a:lnTo>
                  <a:pt x="1662" y="1272"/>
                </a:lnTo>
                <a:lnTo>
                  <a:pt x="1656" y="1278"/>
                </a:lnTo>
                <a:lnTo>
                  <a:pt x="1650" y="1290"/>
                </a:lnTo>
                <a:lnTo>
                  <a:pt x="1644" y="1302"/>
                </a:lnTo>
                <a:lnTo>
                  <a:pt x="1638" y="1308"/>
                </a:lnTo>
                <a:lnTo>
                  <a:pt x="1632" y="1320"/>
                </a:lnTo>
                <a:lnTo>
                  <a:pt x="1632" y="1338"/>
                </a:lnTo>
                <a:lnTo>
                  <a:pt x="1620" y="1338"/>
                </a:lnTo>
                <a:lnTo>
                  <a:pt x="1620" y="1350"/>
                </a:lnTo>
                <a:lnTo>
                  <a:pt x="1602" y="1350"/>
                </a:lnTo>
                <a:lnTo>
                  <a:pt x="1596" y="1332"/>
                </a:lnTo>
                <a:lnTo>
                  <a:pt x="1584" y="1332"/>
                </a:lnTo>
                <a:lnTo>
                  <a:pt x="1572" y="1338"/>
                </a:lnTo>
                <a:lnTo>
                  <a:pt x="1566" y="1344"/>
                </a:lnTo>
                <a:lnTo>
                  <a:pt x="1554" y="1338"/>
                </a:lnTo>
                <a:lnTo>
                  <a:pt x="1542" y="1326"/>
                </a:lnTo>
                <a:lnTo>
                  <a:pt x="1518" y="1332"/>
                </a:lnTo>
                <a:lnTo>
                  <a:pt x="1512" y="1344"/>
                </a:lnTo>
                <a:lnTo>
                  <a:pt x="1500" y="1344"/>
                </a:lnTo>
                <a:lnTo>
                  <a:pt x="1488" y="1344"/>
                </a:lnTo>
                <a:lnTo>
                  <a:pt x="1482" y="1356"/>
                </a:lnTo>
                <a:lnTo>
                  <a:pt x="1482" y="1362"/>
                </a:lnTo>
                <a:lnTo>
                  <a:pt x="1476" y="1368"/>
                </a:lnTo>
                <a:lnTo>
                  <a:pt x="1476" y="1374"/>
                </a:lnTo>
                <a:lnTo>
                  <a:pt x="1464" y="1386"/>
                </a:lnTo>
                <a:lnTo>
                  <a:pt x="1464" y="1398"/>
                </a:lnTo>
                <a:lnTo>
                  <a:pt x="1476" y="1410"/>
                </a:lnTo>
                <a:lnTo>
                  <a:pt x="1464" y="1440"/>
                </a:lnTo>
                <a:lnTo>
                  <a:pt x="1464" y="1452"/>
                </a:lnTo>
                <a:lnTo>
                  <a:pt x="1476" y="1464"/>
                </a:lnTo>
                <a:lnTo>
                  <a:pt x="1458" y="1482"/>
                </a:lnTo>
                <a:lnTo>
                  <a:pt x="1452" y="1506"/>
                </a:lnTo>
                <a:lnTo>
                  <a:pt x="1434" y="1506"/>
                </a:lnTo>
                <a:lnTo>
                  <a:pt x="1428" y="1512"/>
                </a:lnTo>
                <a:lnTo>
                  <a:pt x="1410" y="1512"/>
                </a:lnTo>
                <a:lnTo>
                  <a:pt x="1404" y="1518"/>
                </a:lnTo>
                <a:lnTo>
                  <a:pt x="1398" y="1518"/>
                </a:lnTo>
                <a:lnTo>
                  <a:pt x="1392" y="1524"/>
                </a:lnTo>
                <a:lnTo>
                  <a:pt x="1368" y="1530"/>
                </a:lnTo>
                <a:lnTo>
                  <a:pt x="1350" y="1536"/>
                </a:lnTo>
                <a:lnTo>
                  <a:pt x="1350" y="1542"/>
                </a:lnTo>
                <a:lnTo>
                  <a:pt x="1350" y="1548"/>
                </a:lnTo>
                <a:lnTo>
                  <a:pt x="1344" y="1554"/>
                </a:lnTo>
                <a:lnTo>
                  <a:pt x="1326" y="1554"/>
                </a:lnTo>
                <a:lnTo>
                  <a:pt x="1320" y="1536"/>
                </a:lnTo>
                <a:lnTo>
                  <a:pt x="1314" y="1536"/>
                </a:lnTo>
                <a:lnTo>
                  <a:pt x="1302" y="1530"/>
                </a:lnTo>
                <a:lnTo>
                  <a:pt x="1296" y="1530"/>
                </a:lnTo>
                <a:lnTo>
                  <a:pt x="1290" y="1524"/>
                </a:lnTo>
                <a:lnTo>
                  <a:pt x="1266" y="1530"/>
                </a:lnTo>
                <a:lnTo>
                  <a:pt x="1272" y="1536"/>
                </a:lnTo>
                <a:lnTo>
                  <a:pt x="1272" y="1548"/>
                </a:lnTo>
                <a:lnTo>
                  <a:pt x="1266" y="1554"/>
                </a:lnTo>
                <a:lnTo>
                  <a:pt x="1260" y="1572"/>
                </a:lnTo>
                <a:lnTo>
                  <a:pt x="1248" y="1572"/>
                </a:lnTo>
                <a:lnTo>
                  <a:pt x="1242" y="1572"/>
                </a:lnTo>
                <a:lnTo>
                  <a:pt x="1230" y="1566"/>
                </a:lnTo>
                <a:lnTo>
                  <a:pt x="1206" y="1542"/>
                </a:lnTo>
                <a:lnTo>
                  <a:pt x="1182" y="1512"/>
                </a:lnTo>
                <a:lnTo>
                  <a:pt x="1164" y="1542"/>
                </a:lnTo>
                <a:lnTo>
                  <a:pt x="1176" y="1554"/>
                </a:lnTo>
                <a:lnTo>
                  <a:pt x="1182" y="1560"/>
                </a:lnTo>
                <a:lnTo>
                  <a:pt x="1182" y="1572"/>
                </a:lnTo>
                <a:lnTo>
                  <a:pt x="1176" y="1578"/>
                </a:lnTo>
                <a:lnTo>
                  <a:pt x="1176" y="1590"/>
                </a:lnTo>
                <a:lnTo>
                  <a:pt x="1170" y="1602"/>
                </a:lnTo>
                <a:lnTo>
                  <a:pt x="1176" y="1614"/>
                </a:lnTo>
                <a:lnTo>
                  <a:pt x="1176" y="1620"/>
                </a:lnTo>
                <a:lnTo>
                  <a:pt x="1170" y="1632"/>
                </a:lnTo>
                <a:lnTo>
                  <a:pt x="1164" y="1638"/>
                </a:lnTo>
                <a:lnTo>
                  <a:pt x="1158" y="1638"/>
                </a:lnTo>
                <a:lnTo>
                  <a:pt x="1152" y="1650"/>
                </a:lnTo>
                <a:lnTo>
                  <a:pt x="1146" y="1698"/>
                </a:lnTo>
                <a:lnTo>
                  <a:pt x="1146" y="1728"/>
                </a:lnTo>
                <a:lnTo>
                  <a:pt x="1146" y="1734"/>
                </a:lnTo>
                <a:lnTo>
                  <a:pt x="1140" y="1734"/>
                </a:lnTo>
                <a:lnTo>
                  <a:pt x="1140" y="1758"/>
                </a:lnTo>
                <a:lnTo>
                  <a:pt x="1146" y="1776"/>
                </a:lnTo>
                <a:lnTo>
                  <a:pt x="1134" y="1788"/>
                </a:lnTo>
                <a:lnTo>
                  <a:pt x="1152" y="1800"/>
                </a:lnTo>
                <a:lnTo>
                  <a:pt x="1152" y="1836"/>
                </a:lnTo>
                <a:lnTo>
                  <a:pt x="1146" y="1836"/>
                </a:lnTo>
                <a:lnTo>
                  <a:pt x="1152" y="1860"/>
                </a:lnTo>
                <a:lnTo>
                  <a:pt x="1116" y="1878"/>
                </a:lnTo>
                <a:lnTo>
                  <a:pt x="1122" y="1890"/>
                </a:lnTo>
                <a:lnTo>
                  <a:pt x="1104" y="1896"/>
                </a:lnTo>
                <a:lnTo>
                  <a:pt x="1086" y="1908"/>
                </a:lnTo>
                <a:lnTo>
                  <a:pt x="1092" y="1914"/>
                </a:lnTo>
                <a:lnTo>
                  <a:pt x="1110" y="1926"/>
                </a:lnTo>
                <a:lnTo>
                  <a:pt x="1110" y="1938"/>
                </a:lnTo>
                <a:lnTo>
                  <a:pt x="1110" y="1950"/>
                </a:lnTo>
                <a:lnTo>
                  <a:pt x="1116" y="1962"/>
                </a:lnTo>
                <a:lnTo>
                  <a:pt x="1122" y="1962"/>
                </a:lnTo>
                <a:lnTo>
                  <a:pt x="1128" y="1968"/>
                </a:lnTo>
                <a:lnTo>
                  <a:pt x="1128" y="1974"/>
                </a:lnTo>
                <a:lnTo>
                  <a:pt x="1128" y="1980"/>
                </a:lnTo>
                <a:lnTo>
                  <a:pt x="1134" y="2010"/>
                </a:lnTo>
                <a:lnTo>
                  <a:pt x="1116" y="2010"/>
                </a:lnTo>
                <a:lnTo>
                  <a:pt x="1110" y="1998"/>
                </a:lnTo>
                <a:lnTo>
                  <a:pt x="1080" y="2010"/>
                </a:lnTo>
                <a:lnTo>
                  <a:pt x="1086" y="2022"/>
                </a:lnTo>
                <a:lnTo>
                  <a:pt x="1104" y="2016"/>
                </a:lnTo>
                <a:lnTo>
                  <a:pt x="1116" y="2040"/>
                </a:lnTo>
                <a:lnTo>
                  <a:pt x="1116" y="2046"/>
                </a:lnTo>
                <a:lnTo>
                  <a:pt x="1116" y="2052"/>
                </a:lnTo>
                <a:lnTo>
                  <a:pt x="1128" y="2064"/>
                </a:lnTo>
                <a:lnTo>
                  <a:pt x="1134" y="2100"/>
                </a:lnTo>
                <a:lnTo>
                  <a:pt x="1134" y="2106"/>
                </a:lnTo>
                <a:lnTo>
                  <a:pt x="1134" y="2112"/>
                </a:lnTo>
                <a:lnTo>
                  <a:pt x="1140" y="2112"/>
                </a:lnTo>
                <a:lnTo>
                  <a:pt x="1146" y="2112"/>
                </a:lnTo>
                <a:lnTo>
                  <a:pt x="1152" y="2112"/>
                </a:lnTo>
                <a:lnTo>
                  <a:pt x="1152" y="2100"/>
                </a:lnTo>
                <a:lnTo>
                  <a:pt x="1152" y="2088"/>
                </a:lnTo>
                <a:lnTo>
                  <a:pt x="1170" y="2106"/>
                </a:lnTo>
                <a:lnTo>
                  <a:pt x="1176" y="2106"/>
                </a:lnTo>
                <a:lnTo>
                  <a:pt x="1188" y="2100"/>
                </a:lnTo>
                <a:lnTo>
                  <a:pt x="1194" y="2106"/>
                </a:lnTo>
                <a:lnTo>
                  <a:pt x="1194" y="2112"/>
                </a:lnTo>
                <a:lnTo>
                  <a:pt x="1194" y="2118"/>
                </a:lnTo>
                <a:lnTo>
                  <a:pt x="1182" y="2124"/>
                </a:lnTo>
                <a:lnTo>
                  <a:pt x="1194" y="2136"/>
                </a:lnTo>
                <a:lnTo>
                  <a:pt x="1212" y="2136"/>
                </a:lnTo>
                <a:lnTo>
                  <a:pt x="1224" y="2136"/>
                </a:lnTo>
                <a:lnTo>
                  <a:pt x="1236" y="2142"/>
                </a:lnTo>
                <a:lnTo>
                  <a:pt x="1242" y="2142"/>
                </a:lnTo>
                <a:lnTo>
                  <a:pt x="1248" y="2148"/>
                </a:lnTo>
                <a:lnTo>
                  <a:pt x="1248" y="2154"/>
                </a:lnTo>
                <a:lnTo>
                  <a:pt x="1248" y="2166"/>
                </a:lnTo>
                <a:lnTo>
                  <a:pt x="1260" y="2172"/>
                </a:lnTo>
                <a:lnTo>
                  <a:pt x="1266" y="2178"/>
                </a:lnTo>
                <a:lnTo>
                  <a:pt x="1254" y="2184"/>
                </a:lnTo>
                <a:lnTo>
                  <a:pt x="1254" y="2190"/>
                </a:lnTo>
                <a:lnTo>
                  <a:pt x="1248" y="2196"/>
                </a:lnTo>
                <a:lnTo>
                  <a:pt x="1254" y="2214"/>
                </a:lnTo>
                <a:lnTo>
                  <a:pt x="1260" y="2226"/>
                </a:lnTo>
                <a:lnTo>
                  <a:pt x="1248" y="2238"/>
                </a:lnTo>
                <a:lnTo>
                  <a:pt x="1254" y="2256"/>
                </a:lnTo>
                <a:lnTo>
                  <a:pt x="1248" y="2256"/>
                </a:lnTo>
                <a:lnTo>
                  <a:pt x="1242" y="2256"/>
                </a:lnTo>
                <a:lnTo>
                  <a:pt x="1236" y="2256"/>
                </a:lnTo>
                <a:lnTo>
                  <a:pt x="1230" y="2256"/>
                </a:lnTo>
                <a:lnTo>
                  <a:pt x="1212" y="2268"/>
                </a:lnTo>
                <a:lnTo>
                  <a:pt x="1206" y="2244"/>
                </a:lnTo>
                <a:lnTo>
                  <a:pt x="1200" y="2244"/>
                </a:lnTo>
                <a:lnTo>
                  <a:pt x="1188" y="2250"/>
                </a:lnTo>
                <a:lnTo>
                  <a:pt x="1194" y="2268"/>
                </a:lnTo>
                <a:lnTo>
                  <a:pt x="1188" y="2274"/>
                </a:lnTo>
                <a:lnTo>
                  <a:pt x="1170" y="2292"/>
                </a:lnTo>
                <a:lnTo>
                  <a:pt x="1164" y="2280"/>
                </a:lnTo>
                <a:lnTo>
                  <a:pt x="1158" y="2256"/>
                </a:lnTo>
                <a:lnTo>
                  <a:pt x="1146" y="2226"/>
                </a:lnTo>
                <a:lnTo>
                  <a:pt x="1146" y="2220"/>
                </a:lnTo>
                <a:lnTo>
                  <a:pt x="1140" y="2208"/>
                </a:lnTo>
                <a:lnTo>
                  <a:pt x="1134" y="2208"/>
                </a:lnTo>
                <a:lnTo>
                  <a:pt x="1116" y="2178"/>
                </a:lnTo>
                <a:lnTo>
                  <a:pt x="1092" y="2154"/>
                </a:lnTo>
                <a:lnTo>
                  <a:pt x="1080" y="2154"/>
                </a:lnTo>
                <a:lnTo>
                  <a:pt x="1074" y="2148"/>
                </a:lnTo>
                <a:lnTo>
                  <a:pt x="1062" y="2136"/>
                </a:lnTo>
                <a:lnTo>
                  <a:pt x="1056" y="2130"/>
                </a:lnTo>
                <a:lnTo>
                  <a:pt x="1044" y="2124"/>
                </a:lnTo>
                <a:lnTo>
                  <a:pt x="1020" y="2112"/>
                </a:lnTo>
                <a:lnTo>
                  <a:pt x="1008" y="2118"/>
                </a:lnTo>
                <a:lnTo>
                  <a:pt x="990" y="2124"/>
                </a:lnTo>
                <a:lnTo>
                  <a:pt x="978" y="2130"/>
                </a:lnTo>
                <a:lnTo>
                  <a:pt x="966" y="2124"/>
                </a:lnTo>
                <a:lnTo>
                  <a:pt x="948" y="2118"/>
                </a:lnTo>
                <a:lnTo>
                  <a:pt x="942" y="2118"/>
                </a:lnTo>
                <a:lnTo>
                  <a:pt x="918" y="2112"/>
                </a:lnTo>
                <a:lnTo>
                  <a:pt x="888" y="2112"/>
                </a:lnTo>
                <a:lnTo>
                  <a:pt x="882" y="2112"/>
                </a:lnTo>
                <a:lnTo>
                  <a:pt x="876" y="2112"/>
                </a:lnTo>
                <a:lnTo>
                  <a:pt x="876" y="2106"/>
                </a:lnTo>
                <a:lnTo>
                  <a:pt x="870" y="2106"/>
                </a:lnTo>
                <a:lnTo>
                  <a:pt x="858" y="2106"/>
                </a:lnTo>
                <a:lnTo>
                  <a:pt x="840" y="2112"/>
                </a:lnTo>
                <a:lnTo>
                  <a:pt x="834" y="2118"/>
                </a:lnTo>
                <a:lnTo>
                  <a:pt x="840" y="2124"/>
                </a:lnTo>
                <a:lnTo>
                  <a:pt x="840" y="2130"/>
                </a:lnTo>
                <a:lnTo>
                  <a:pt x="852" y="2142"/>
                </a:lnTo>
                <a:lnTo>
                  <a:pt x="846" y="2148"/>
                </a:lnTo>
                <a:lnTo>
                  <a:pt x="834" y="2154"/>
                </a:lnTo>
                <a:lnTo>
                  <a:pt x="816" y="2148"/>
                </a:lnTo>
                <a:lnTo>
                  <a:pt x="816" y="2136"/>
                </a:lnTo>
                <a:lnTo>
                  <a:pt x="810" y="2130"/>
                </a:lnTo>
                <a:lnTo>
                  <a:pt x="804" y="2142"/>
                </a:lnTo>
                <a:lnTo>
                  <a:pt x="798" y="2154"/>
                </a:lnTo>
                <a:lnTo>
                  <a:pt x="786" y="2154"/>
                </a:lnTo>
                <a:lnTo>
                  <a:pt x="780" y="2142"/>
                </a:lnTo>
                <a:lnTo>
                  <a:pt x="780" y="2130"/>
                </a:lnTo>
                <a:lnTo>
                  <a:pt x="780" y="2124"/>
                </a:lnTo>
                <a:lnTo>
                  <a:pt x="774" y="2118"/>
                </a:lnTo>
                <a:lnTo>
                  <a:pt x="768" y="2118"/>
                </a:lnTo>
                <a:lnTo>
                  <a:pt x="756" y="2124"/>
                </a:lnTo>
                <a:lnTo>
                  <a:pt x="744" y="2136"/>
                </a:lnTo>
                <a:lnTo>
                  <a:pt x="726" y="2136"/>
                </a:lnTo>
                <a:lnTo>
                  <a:pt x="720" y="2136"/>
                </a:lnTo>
                <a:lnTo>
                  <a:pt x="714" y="2136"/>
                </a:lnTo>
                <a:lnTo>
                  <a:pt x="714" y="2130"/>
                </a:lnTo>
                <a:lnTo>
                  <a:pt x="708" y="2124"/>
                </a:lnTo>
                <a:lnTo>
                  <a:pt x="708" y="2106"/>
                </a:lnTo>
                <a:lnTo>
                  <a:pt x="714" y="2100"/>
                </a:lnTo>
                <a:lnTo>
                  <a:pt x="720" y="2100"/>
                </a:lnTo>
                <a:lnTo>
                  <a:pt x="720" y="2106"/>
                </a:lnTo>
                <a:lnTo>
                  <a:pt x="726" y="2106"/>
                </a:lnTo>
                <a:lnTo>
                  <a:pt x="726" y="2112"/>
                </a:lnTo>
                <a:lnTo>
                  <a:pt x="732" y="2106"/>
                </a:lnTo>
                <a:lnTo>
                  <a:pt x="738" y="2100"/>
                </a:lnTo>
                <a:lnTo>
                  <a:pt x="750" y="2100"/>
                </a:lnTo>
                <a:lnTo>
                  <a:pt x="762" y="2106"/>
                </a:lnTo>
                <a:lnTo>
                  <a:pt x="774" y="2100"/>
                </a:lnTo>
                <a:lnTo>
                  <a:pt x="780" y="2100"/>
                </a:lnTo>
                <a:lnTo>
                  <a:pt x="780" y="2094"/>
                </a:lnTo>
                <a:lnTo>
                  <a:pt x="780" y="2088"/>
                </a:lnTo>
                <a:lnTo>
                  <a:pt x="780" y="2082"/>
                </a:lnTo>
                <a:lnTo>
                  <a:pt x="768" y="2088"/>
                </a:lnTo>
                <a:lnTo>
                  <a:pt x="762" y="2094"/>
                </a:lnTo>
                <a:lnTo>
                  <a:pt x="750" y="2094"/>
                </a:lnTo>
                <a:lnTo>
                  <a:pt x="738" y="2088"/>
                </a:lnTo>
                <a:lnTo>
                  <a:pt x="738" y="2082"/>
                </a:lnTo>
                <a:lnTo>
                  <a:pt x="750" y="2082"/>
                </a:lnTo>
                <a:lnTo>
                  <a:pt x="756" y="2076"/>
                </a:lnTo>
                <a:lnTo>
                  <a:pt x="756" y="2070"/>
                </a:lnTo>
                <a:lnTo>
                  <a:pt x="744" y="2070"/>
                </a:lnTo>
                <a:lnTo>
                  <a:pt x="756" y="2052"/>
                </a:lnTo>
                <a:lnTo>
                  <a:pt x="756" y="2046"/>
                </a:lnTo>
                <a:lnTo>
                  <a:pt x="750" y="2034"/>
                </a:lnTo>
                <a:lnTo>
                  <a:pt x="738" y="2034"/>
                </a:lnTo>
                <a:lnTo>
                  <a:pt x="738" y="2040"/>
                </a:lnTo>
                <a:lnTo>
                  <a:pt x="738" y="2046"/>
                </a:lnTo>
                <a:lnTo>
                  <a:pt x="732" y="2064"/>
                </a:lnTo>
                <a:lnTo>
                  <a:pt x="726" y="2070"/>
                </a:lnTo>
                <a:lnTo>
                  <a:pt x="720" y="2064"/>
                </a:lnTo>
                <a:lnTo>
                  <a:pt x="708" y="2058"/>
                </a:lnTo>
                <a:lnTo>
                  <a:pt x="702" y="2034"/>
                </a:lnTo>
                <a:lnTo>
                  <a:pt x="702" y="2028"/>
                </a:lnTo>
                <a:lnTo>
                  <a:pt x="690" y="2034"/>
                </a:lnTo>
                <a:lnTo>
                  <a:pt x="684" y="2046"/>
                </a:lnTo>
                <a:lnTo>
                  <a:pt x="690" y="2046"/>
                </a:lnTo>
                <a:lnTo>
                  <a:pt x="702" y="2052"/>
                </a:lnTo>
                <a:lnTo>
                  <a:pt x="696" y="2070"/>
                </a:lnTo>
                <a:lnTo>
                  <a:pt x="696" y="2076"/>
                </a:lnTo>
                <a:lnTo>
                  <a:pt x="696" y="2082"/>
                </a:lnTo>
                <a:lnTo>
                  <a:pt x="690" y="2088"/>
                </a:lnTo>
                <a:lnTo>
                  <a:pt x="678" y="2088"/>
                </a:lnTo>
                <a:lnTo>
                  <a:pt x="678" y="2094"/>
                </a:lnTo>
                <a:lnTo>
                  <a:pt x="666" y="2094"/>
                </a:lnTo>
                <a:lnTo>
                  <a:pt x="660" y="2082"/>
                </a:lnTo>
                <a:lnTo>
                  <a:pt x="666" y="2076"/>
                </a:lnTo>
                <a:lnTo>
                  <a:pt x="672" y="2070"/>
                </a:lnTo>
                <a:lnTo>
                  <a:pt x="672" y="2064"/>
                </a:lnTo>
                <a:lnTo>
                  <a:pt x="678" y="2058"/>
                </a:lnTo>
                <a:lnTo>
                  <a:pt x="672" y="2046"/>
                </a:lnTo>
                <a:lnTo>
                  <a:pt x="666" y="2052"/>
                </a:lnTo>
                <a:lnTo>
                  <a:pt x="660" y="2064"/>
                </a:lnTo>
                <a:lnTo>
                  <a:pt x="654" y="2064"/>
                </a:lnTo>
                <a:lnTo>
                  <a:pt x="642" y="2058"/>
                </a:lnTo>
                <a:lnTo>
                  <a:pt x="636" y="2052"/>
                </a:lnTo>
                <a:lnTo>
                  <a:pt x="642" y="2046"/>
                </a:lnTo>
                <a:lnTo>
                  <a:pt x="642" y="2040"/>
                </a:lnTo>
                <a:lnTo>
                  <a:pt x="648" y="2040"/>
                </a:lnTo>
                <a:lnTo>
                  <a:pt x="654" y="2034"/>
                </a:lnTo>
                <a:lnTo>
                  <a:pt x="654" y="2028"/>
                </a:lnTo>
                <a:lnTo>
                  <a:pt x="654" y="2022"/>
                </a:lnTo>
                <a:lnTo>
                  <a:pt x="648" y="2016"/>
                </a:lnTo>
                <a:lnTo>
                  <a:pt x="630" y="2028"/>
                </a:lnTo>
                <a:lnTo>
                  <a:pt x="618" y="2028"/>
                </a:lnTo>
                <a:lnTo>
                  <a:pt x="606" y="2016"/>
                </a:lnTo>
                <a:lnTo>
                  <a:pt x="600" y="2016"/>
                </a:lnTo>
                <a:lnTo>
                  <a:pt x="594" y="2016"/>
                </a:lnTo>
                <a:lnTo>
                  <a:pt x="582" y="2010"/>
                </a:lnTo>
                <a:lnTo>
                  <a:pt x="588" y="2004"/>
                </a:lnTo>
                <a:lnTo>
                  <a:pt x="600" y="2004"/>
                </a:lnTo>
                <a:lnTo>
                  <a:pt x="600" y="1998"/>
                </a:lnTo>
                <a:lnTo>
                  <a:pt x="606" y="1992"/>
                </a:lnTo>
                <a:lnTo>
                  <a:pt x="618" y="1986"/>
                </a:lnTo>
                <a:lnTo>
                  <a:pt x="630" y="1980"/>
                </a:lnTo>
                <a:lnTo>
                  <a:pt x="636" y="1968"/>
                </a:lnTo>
                <a:lnTo>
                  <a:pt x="630" y="1968"/>
                </a:lnTo>
                <a:lnTo>
                  <a:pt x="630" y="1962"/>
                </a:lnTo>
                <a:lnTo>
                  <a:pt x="612" y="1968"/>
                </a:lnTo>
                <a:lnTo>
                  <a:pt x="606" y="1968"/>
                </a:lnTo>
                <a:lnTo>
                  <a:pt x="594" y="1968"/>
                </a:lnTo>
                <a:lnTo>
                  <a:pt x="588" y="1968"/>
                </a:lnTo>
                <a:lnTo>
                  <a:pt x="582" y="1962"/>
                </a:lnTo>
                <a:lnTo>
                  <a:pt x="582" y="1950"/>
                </a:lnTo>
                <a:lnTo>
                  <a:pt x="582" y="1938"/>
                </a:lnTo>
                <a:lnTo>
                  <a:pt x="594" y="1926"/>
                </a:lnTo>
                <a:lnTo>
                  <a:pt x="594" y="1920"/>
                </a:lnTo>
                <a:lnTo>
                  <a:pt x="570" y="1920"/>
                </a:lnTo>
                <a:lnTo>
                  <a:pt x="546" y="1920"/>
                </a:lnTo>
                <a:lnTo>
                  <a:pt x="540" y="1914"/>
                </a:lnTo>
                <a:lnTo>
                  <a:pt x="540" y="1908"/>
                </a:lnTo>
                <a:lnTo>
                  <a:pt x="546" y="1908"/>
                </a:lnTo>
                <a:lnTo>
                  <a:pt x="552" y="1914"/>
                </a:lnTo>
                <a:lnTo>
                  <a:pt x="558" y="1914"/>
                </a:lnTo>
                <a:lnTo>
                  <a:pt x="564" y="1908"/>
                </a:lnTo>
                <a:lnTo>
                  <a:pt x="558" y="1908"/>
                </a:lnTo>
                <a:lnTo>
                  <a:pt x="552" y="1896"/>
                </a:lnTo>
                <a:lnTo>
                  <a:pt x="552" y="1890"/>
                </a:lnTo>
                <a:lnTo>
                  <a:pt x="552" y="1884"/>
                </a:lnTo>
                <a:lnTo>
                  <a:pt x="546" y="1884"/>
                </a:lnTo>
                <a:lnTo>
                  <a:pt x="540" y="1878"/>
                </a:lnTo>
                <a:lnTo>
                  <a:pt x="528" y="1878"/>
                </a:lnTo>
                <a:lnTo>
                  <a:pt x="516" y="1884"/>
                </a:lnTo>
                <a:lnTo>
                  <a:pt x="498" y="1890"/>
                </a:lnTo>
                <a:lnTo>
                  <a:pt x="492" y="1890"/>
                </a:lnTo>
                <a:lnTo>
                  <a:pt x="498" y="1878"/>
                </a:lnTo>
                <a:lnTo>
                  <a:pt x="510" y="1878"/>
                </a:lnTo>
                <a:lnTo>
                  <a:pt x="516" y="1872"/>
                </a:lnTo>
                <a:lnTo>
                  <a:pt x="522" y="1854"/>
                </a:lnTo>
                <a:lnTo>
                  <a:pt x="528" y="1848"/>
                </a:lnTo>
                <a:lnTo>
                  <a:pt x="534" y="1848"/>
                </a:lnTo>
                <a:lnTo>
                  <a:pt x="528" y="1842"/>
                </a:lnTo>
                <a:lnTo>
                  <a:pt x="522" y="1842"/>
                </a:lnTo>
                <a:lnTo>
                  <a:pt x="510" y="1842"/>
                </a:lnTo>
                <a:lnTo>
                  <a:pt x="504" y="1848"/>
                </a:lnTo>
                <a:lnTo>
                  <a:pt x="504" y="1842"/>
                </a:lnTo>
                <a:lnTo>
                  <a:pt x="510" y="1836"/>
                </a:lnTo>
                <a:lnTo>
                  <a:pt x="510" y="1830"/>
                </a:lnTo>
                <a:lnTo>
                  <a:pt x="510" y="1824"/>
                </a:lnTo>
                <a:lnTo>
                  <a:pt x="504" y="1818"/>
                </a:lnTo>
                <a:lnTo>
                  <a:pt x="498" y="1818"/>
                </a:lnTo>
                <a:lnTo>
                  <a:pt x="498" y="1824"/>
                </a:lnTo>
                <a:lnTo>
                  <a:pt x="492" y="1824"/>
                </a:lnTo>
                <a:lnTo>
                  <a:pt x="486" y="1824"/>
                </a:lnTo>
                <a:lnTo>
                  <a:pt x="474" y="1830"/>
                </a:lnTo>
                <a:lnTo>
                  <a:pt x="462" y="1836"/>
                </a:lnTo>
                <a:lnTo>
                  <a:pt x="450" y="1830"/>
                </a:lnTo>
                <a:lnTo>
                  <a:pt x="456" y="1824"/>
                </a:lnTo>
                <a:lnTo>
                  <a:pt x="456" y="1818"/>
                </a:lnTo>
                <a:lnTo>
                  <a:pt x="456" y="1812"/>
                </a:lnTo>
                <a:lnTo>
                  <a:pt x="450" y="1800"/>
                </a:lnTo>
                <a:lnTo>
                  <a:pt x="450" y="1788"/>
                </a:lnTo>
                <a:lnTo>
                  <a:pt x="456" y="1770"/>
                </a:lnTo>
                <a:lnTo>
                  <a:pt x="450" y="1752"/>
                </a:lnTo>
                <a:lnTo>
                  <a:pt x="432" y="1740"/>
                </a:lnTo>
                <a:lnTo>
                  <a:pt x="426" y="1740"/>
                </a:lnTo>
                <a:lnTo>
                  <a:pt x="414" y="1734"/>
                </a:lnTo>
                <a:lnTo>
                  <a:pt x="414" y="1722"/>
                </a:lnTo>
                <a:lnTo>
                  <a:pt x="420" y="1710"/>
                </a:lnTo>
                <a:lnTo>
                  <a:pt x="408" y="1710"/>
                </a:lnTo>
                <a:lnTo>
                  <a:pt x="390" y="1710"/>
                </a:lnTo>
                <a:lnTo>
                  <a:pt x="378" y="1716"/>
                </a:lnTo>
                <a:lnTo>
                  <a:pt x="366" y="1716"/>
                </a:lnTo>
                <a:lnTo>
                  <a:pt x="366" y="1698"/>
                </a:lnTo>
                <a:lnTo>
                  <a:pt x="354" y="1704"/>
                </a:lnTo>
                <a:lnTo>
                  <a:pt x="336" y="1698"/>
                </a:lnTo>
                <a:lnTo>
                  <a:pt x="336" y="1686"/>
                </a:lnTo>
                <a:lnTo>
                  <a:pt x="324" y="1680"/>
                </a:lnTo>
                <a:lnTo>
                  <a:pt x="318" y="1686"/>
                </a:lnTo>
                <a:lnTo>
                  <a:pt x="294" y="1680"/>
                </a:lnTo>
                <a:lnTo>
                  <a:pt x="288" y="1668"/>
                </a:lnTo>
                <a:lnTo>
                  <a:pt x="282" y="1662"/>
                </a:lnTo>
                <a:lnTo>
                  <a:pt x="252" y="1650"/>
                </a:lnTo>
                <a:lnTo>
                  <a:pt x="198" y="1626"/>
                </a:lnTo>
                <a:lnTo>
                  <a:pt x="186" y="1632"/>
                </a:lnTo>
                <a:lnTo>
                  <a:pt x="180" y="1626"/>
                </a:lnTo>
                <a:lnTo>
                  <a:pt x="174" y="1626"/>
                </a:lnTo>
                <a:lnTo>
                  <a:pt x="168" y="1632"/>
                </a:lnTo>
                <a:lnTo>
                  <a:pt x="162" y="1632"/>
                </a:lnTo>
                <a:lnTo>
                  <a:pt x="156" y="1632"/>
                </a:lnTo>
                <a:lnTo>
                  <a:pt x="150" y="1620"/>
                </a:lnTo>
                <a:lnTo>
                  <a:pt x="150" y="1614"/>
                </a:lnTo>
                <a:lnTo>
                  <a:pt x="150" y="1608"/>
                </a:lnTo>
                <a:lnTo>
                  <a:pt x="156" y="1602"/>
                </a:lnTo>
                <a:lnTo>
                  <a:pt x="150" y="1596"/>
                </a:lnTo>
                <a:lnTo>
                  <a:pt x="138" y="1602"/>
                </a:lnTo>
                <a:lnTo>
                  <a:pt x="126" y="1602"/>
                </a:lnTo>
                <a:lnTo>
                  <a:pt x="114" y="1596"/>
                </a:lnTo>
                <a:lnTo>
                  <a:pt x="108" y="1590"/>
                </a:lnTo>
                <a:lnTo>
                  <a:pt x="96" y="1584"/>
                </a:lnTo>
                <a:lnTo>
                  <a:pt x="96" y="1578"/>
                </a:lnTo>
                <a:lnTo>
                  <a:pt x="78" y="1566"/>
                </a:lnTo>
                <a:lnTo>
                  <a:pt x="66" y="1566"/>
                </a:lnTo>
                <a:lnTo>
                  <a:pt x="54" y="1554"/>
                </a:lnTo>
                <a:lnTo>
                  <a:pt x="42" y="1542"/>
                </a:lnTo>
                <a:lnTo>
                  <a:pt x="36" y="1536"/>
                </a:lnTo>
                <a:lnTo>
                  <a:pt x="30" y="1536"/>
                </a:lnTo>
                <a:lnTo>
                  <a:pt x="24" y="1524"/>
                </a:lnTo>
                <a:lnTo>
                  <a:pt x="24" y="1518"/>
                </a:lnTo>
                <a:lnTo>
                  <a:pt x="24" y="1512"/>
                </a:lnTo>
                <a:lnTo>
                  <a:pt x="18" y="1494"/>
                </a:lnTo>
                <a:lnTo>
                  <a:pt x="12" y="1488"/>
                </a:lnTo>
                <a:lnTo>
                  <a:pt x="6" y="1476"/>
                </a:lnTo>
                <a:lnTo>
                  <a:pt x="6" y="1458"/>
                </a:lnTo>
                <a:lnTo>
                  <a:pt x="0" y="1452"/>
                </a:lnTo>
                <a:lnTo>
                  <a:pt x="18" y="1440"/>
                </a:lnTo>
                <a:lnTo>
                  <a:pt x="36" y="1434"/>
                </a:lnTo>
                <a:lnTo>
                  <a:pt x="42" y="1452"/>
                </a:lnTo>
                <a:lnTo>
                  <a:pt x="48" y="1446"/>
                </a:lnTo>
                <a:lnTo>
                  <a:pt x="60" y="1452"/>
                </a:lnTo>
                <a:lnTo>
                  <a:pt x="66" y="1452"/>
                </a:lnTo>
                <a:lnTo>
                  <a:pt x="78" y="1446"/>
                </a:lnTo>
                <a:lnTo>
                  <a:pt x="84" y="1440"/>
                </a:lnTo>
                <a:lnTo>
                  <a:pt x="90" y="1440"/>
                </a:lnTo>
                <a:lnTo>
                  <a:pt x="96" y="1440"/>
                </a:lnTo>
                <a:lnTo>
                  <a:pt x="102" y="1446"/>
                </a:lnTo>
                <a:lnTo>
                  <a:pt x="102" y="1464"/>
                </a:lnTo>
                <a:lnTo>
                  <a:pt x="108" y="1470"/>
                </a:lnTo>
                <a:lnTo>
                  <a:pt x="114" y="1470"/>
                </a:lnTo>
                <a:lnTo>
                  <a:pt x="120" y="1476"/>
                </a:lnTo>
                <a:lnTo>
                  <a:pt x="132" y="1470"/>
                </a:lnTo>
                <a:lnTo>
                  <a:pt x="138" y="1464"/>
                </a:lnTo>
                <a:lnTo>
                  <a:pt x="150" y="1446"/>
                </a:lnTo>
                <a:lnTo>
                  <a:pt x="156" y="1440"/>
                </a:lnTo>
                <a:lnTo>
                  <a:pt x="168" y="1440"/>
                </a:lnTo>
                <a:lnTo>
                  <a:pt x="168" y="1422"/>
                </a:lnTo>
                <a:lnTo>
                  <a:pt x="168" y="1416"/>
                </a:lnTo>
                <a:lnTo>
                  <a:pt x="174" y="1416"/>
                </a:lnTo>
                <a:lnTo>
                  <a:pt x="180" y="1422"/>
                </a:lnTo>
                <a:lnTo>
                  <a:pt x="204" y="1416"/>
                </a:lnTo>
                <a:lnTo>
                  <a:pt x="204" y="1422"/>
                </a:lnTo>
                <a:lnTo>
                  <a:pt x="204" y="1428"/>
                </a:lnTo>
                <a:lnTo>
                  <a:pt x="216" y="1434"/>
                </a:lnTo>
                <a:lnTo>
                  <a:pt x="216" y="1440"/>
                </a:lnTo>
                <a:lnTo>
                  <a:pt x="222" y="1446"/>
                </a:lnTo>
                <a:lnTo>
                  <a:pt x="234" y="1446"/>
                </a:lnTo>
                <a:lnTo>
                  <a:pt x="234" y="1434"/>
                </a:lnTo>
                <a:lnTo>
                  <a:pt x="246" y="1422"/>
                </a:lnTo>
                <a:lnTo>
                  <a:pt x="252" y="1416"/>
                </a:lnTo>
                <a:lnTo>
                  <a:pt x="258" y="1410"/>
                </a:lnTo>
                <a:lnTo>
                  <a:pt x="246" y="1398"/>
                </a:lnTo>
                <a:lnTo>
                  <a:pt x="246" y="1392"/>
                </a:lnTo>
                <a:lnTo>
                  <a:pt x="252" y="1374"/>
                </a:lnTo>
                <a:lnTo>
                  <a:pt x="264" y="1368"/>
                </a:lnTo>
                <a:lnTo>
                  <a:pt x="264" y="1362"/>
                </a:lnTo>
                <a:lnTo>
                  <a:pt x="270" y="1362"/>
                </a:lnTo>
                <a:lnTo>
                  <a:pt x="276" y="1356"/>
                </a:lnTo>
                <a:lnTo>
                  <a:pt x="282" y="1350"/>
                </a:lnTo>
                <a:lnTo>
                  <a:pt x="264" y="1308"/>
                </a:lnTo>
                <a:lnTo>
                  <a:pt x="258" y="1308"/>
                </a:lnTo>
                <a:lnTo>
                  <a:pt x="252" y="1302"/>
                </a:lnTo>
                <a:lnTo>
                  <a:pt x="246" y="1290"/>
                </a:lnTo>
                <a:lnTo>
                  <a:pt x="246" y="1278"/>
                </a:lnTo>
                <a:lnTo>
                  <a:pt x="222" y="1254"/>
                </a:lnTo>
                <a:lnTo>
                  <a:pt x="228" y="1242"/>
                </a:lnTo>
                <a:lnTo>
                  <a:pt x="240" y="1224"/>
                </a:lnTo>
                <a:lnTo>
                  <a:pt x="240" y="1218"/>
                </a:lnTo>
                <a:lnTo>
                  <a:pt x="246" y="1218"/>
                </a:lnTo>
                <a:lnTo>
                  <a:pt x="258" y="1218"/>
                </a:lnTo>
                <a:lnTo>
                  <a:pt x="264" y="1224"/>
                </a:lnTo>
                <a:lnTo>
                  <a:pt x="264" y="1236"/>
                </a:lnTo>
                <a:lnTo>
                  <a:pt x="270" y="1236"/>
                </a:lnTo>
                <a:lnTo>
                  <a:pt x="270" y="1242"/>
                </a:lnTo>
                <a:lnTo>
                  <a:pt x="276" y="1242"/>
                </a:lnTo>
                <a:lnTo>
                  <a:pt x="282" y="1242"/>
                </a:lnTo>
                <a:lnTo>
                  <a:pt x="282" y="1212"/>
                </a:lnTo>
                <a:lnTo>
                  <a:pt x="288" y="1212"/>
                </a:lnTo>
                <a:lnTo>
                  <a:pt x="294" y="1212"/>
                </a:lnTo>
                <a:lnTo>
                  <a:pt x="312" y="1212"/>
                </a:lnTo>
                <a:lnTo>
                  <a:pt x="330" y="1206"/>
                </a:lnTo>
                <a:lnTo>
                  <a:pt x="330" y="1224"/>
                </a:lnTo>
                <a:lnTo>
                  <a:pt x="342" y="1218"/>
                </a:lnTo>
                <a:lnTo>
                  <a:pt x="348" y="1230"/>
                </a:lnTo>
                <a:lnTo>
                  <a:pt x="366" y="1230"/>
                </a:lnTo>
                <a:lnTo>
                  <a:pt x="360" y="1194"/>
                </a:lnTo>
                <a:lnTo>
                  <a:pt x="402" y="1182"/>
                </a:lnTo>
                <a:lnTo>
                  <a:pt x="408" y="1182"/>
                </a:lnTo>
                <a:lnTo>
                  <a:pt x="414" y="1182"/>
                </a:lnTo>
                <a:lnTo>
                  <a:pt x="426" y="1182"/>
                </a:lnTo>
                <a:lnTo>
                  <a:pt x="420" y="1164"/>
                </a:lnTo>
                <a:lnTo>
                  <a:pt x="420" y="1146"/>
                </a:lnTo>
                <a:lnTo>
                  <a:pt x="426" y="1116"/>
                </a:lnTo>
                <a:lnTo>
                  <a:pt x="426" y="1110"/>
                </a:lnTo>
                <a:lnTo>
                  <a:pt x="420" y="1092"/>
                </a:lnTo>
                <a:lnTo>
                  <a:pt x="420" y="1074"/>
                </a:lnTo>
                <a:lnTo>
                  <a:pt x="420" y="1068"/>
                </a:lnTo>
                <a:lnTo>
                  <a:pt x="420" y="1056"/>
                </a:lnTo>
                <a:lnTo>
                  <a:pt x="438" y="1044"/>
                </a:lnTo>
                <a:lnTo>
                  <a:pt x="444" y="1038"/>
                </a:lnTo>
                <a:lnTo>
                  <a:pt x="450" y="1032"/>
                </a:lnTo>
                <a:lnTo>
                  <a:pt x="444" y="1014"/>
                </a:lnTo>
                <a:lnTo>
                  <a:pt x="444" y="1002"/>
                </a:lnTo>
                <a:lnTo>
                  <a:pt x="438" y="966"/>
                </a:lnTo>
                <a:lnTo>
                  <a:pt x="438" y="954"/>
                </a:lnTo>
                <a:lnTo>
                  <a:pt x="432" y="936"/>
                </a:lnTo>
                <a:lnTo>
                  <a:pt x="432" y="918"/>
                </a:lnTo>
                <a:lnTo>
                  <a:pt x="426" y="906"/>
                </a:lnTo>
                <a:lnTo>
                  <a:pt x="426" y="888"/>
                </a:lnTo>
                <a:lnTo>
                  <a:pt x="420" y="876"/>
                </a:lnTo>
                <a:lnTo>
                  <a:pt x="420" y="852"/>
                </a:lnTo>
                <a:lnTo>
                  <a:pt x="414" y="852"/>
                </a:lnTo>
                <a:lnTo>
                  <a:pt x="414" y="846"/>
                </a:lnTo>
                <a:lnTo>
                  <a:pt x="414" y="840"/>
                </a:lnTo>
                <a:lnTo>
                  <a:pt x="414" y="834"/>
                </a:lnTo>
                <a:lnTo>
                  <a:pt x="414" y="828"/>
                </a:lnTo>
                <a:lnTo>
                  <a:pt x="420" y="798"/>
                </a:lnTo>
                <a:lnTo>
                  <a:pt x="420" y="792"/>
                </a:lnTo>
                <a:lnTo>
                  <a:pt x="420" y="774"/>
                </a:lnTo>
                <a:lnTo>
                  <a:pt x="414" y="762"/>
                </a:lnTo>
                <a:lnTo>
                  <a:pt x="414" y="738"/>
                </a:lnTo>
                <a:lnTo>
                  <a:pt x="414" y="732"/>
                </a:lnTo>
                <a:lnTo>
                  <a:pt x="408" y="726"/>
                </a:lnTo>
                <a:lnTo>
                  <a:pt x="408" y="714"/>
                </a:lnTo>
                <a:lnTo>
                  <a:pt x="420" y="702"/>
                </a:lnTo>
                <a:lnTo>
                  <a:pt x="432" y="696"/>
                </a:lnTo>
                <a:lnTo>
                  <a:pt x="438" y="684"/>
                </a:lnTo>
                <a:lnTo>
                  <a:pt x="444" y="672"/>
                </a:lnTo>
                <a:lnTo>
                  <a:pt x="450" y="660"/>
                </a:lnTo>
                <a:lnTo>
                  <a:pt x="456" y="654"/>
                </a:lnTo>
                <a:lnTo>
                  <a:pt x="462" y="648"/>
                </a:lnTo>
                <a:lnTo>
                  <a:pt x="462" y="642"/>
                </a:lnTo>
                <a:lnTo>
                  <a:pt x="462" y="636"/>
                </a:lnTo>
                <a:lnTo>
                  <a:pt x="462" y="624"/>
                </a:lnTo>
                <a:lnTo>
                  <a:pt x="462" y="606"/>
                </a:lnTo>
                <a:lnTo>
                  <a:pt x="462" y="594"/>
                </a:lnTo>
                <a:lnTo>
                  <a:pt x="480" y="588"/>
                </a:lnTo>
                <a:lnTo>
                  <a:pt x="498" y="582"/>
                </a:lnTo>
                <a:lnTo>
                  <a:pt x="516" y="576"/>
                </a:lnTo>
                <a:lnTo>
                  <a:pt x="522" y="582"/>
                </a:lnTo>
                <a:lnTo>
                  <a:pt x="540" y="576"/>
                </a:lnTo>
                <a:lnTo>
                  <a:pt x="552" y="576"/>
                </a:lnTo>
                <a:lnTo>
                  <a:pt x="564" y="582"/>
                </a:lnTo>
                <a:lnTo>
                  <a:pt x="588" y="582"/>
                </a:lnTo>
                <a:lnTo>
                  <a:pt x="606" y="576"/>
                </a:lnTo>
                <a:lnTo>
                  <a:pt x="618" y="570"/>
                </a:lnTo>
                <a:lnTo>
                  <a:pt x="624" y="558"/>
                </a:lnTo>
                <a:lnTo>
                  <a:pt x="648" y="540"/>
                </a:lnTo>
                <a:lnTo>
                  <a:pt x="672" y="522"/>
                </a:lnTo>
                <a:lnTo>
                  <a:pt x="684" y="522"/>
                </a:lnTo>
                <a:lnTo>
                  <a:pt x="690" y="516"/>
                </a:lnTo>
                <a:lnTo>
                  <a:pt x="696" y="516"/>
                </a:lnTo>
                <a:lnTo>
                  <a:pt x="714" y="516"/>
                </a:lnTo>
                <a:lnTo>
                  <a:pt x="726" y="522"/>
                </a:lnTo>
                <a:lnTo>
                  <a:pt x="738" y="516"/>
                </a:lnTo>
                <a:lnTo>
                  <a:pt x="762" y="510"/>
                </a:lnTo>
                <a:lnTo>
                  <a:pt x="780" y="504"/>
                </a:lnTo>
                <a:lnTo>
                  <a:pt x="804" y="486"/>
                </a:lnTo>
                <a:lnTo>
                  <a:pt x="822" y="462"/>
                </a:lnTo>
                <a:lnTo>
                  <a:pt x="852" y="444"/>
                </a:lnTo>
                <a:lnTo>
                  <a:pt x="894" y="420"/>
                </a:lnTo>
                <a:lnTo>
                  <a:pt x="912" y="402"/>
                </a:lnTo>
                <a:lnTo>
                  <a:pt x="924" y="396"/>
                </a:lnTo>
                <a:lnTo>
                  <a:pt x="930" y="396"/>
                </a:lnTo>
                <a:lnTo>
                  <a:pt x="948" y="390"/>
                </a:lnTo>
                <a:lnTo>
                  <a:pt x="948" y="384"/>
                </a:lnTo>
                <a:lnTo>
                  <a:pt x="972" y="372"/>
                </a:lnTo>
                <a:lnTo>
                  <a:pt x="1002" y="354"/>
                </a:lnTo>
                <a:lnTo>
                  <a:pt x="1050" y="318"/>
                </a:lnTo>
                <a:lnTo>
                  <a:pt x="1062" y="312"/>
                </a:lnTo>
                <a:lnTo>
                  <a:pt x="1074" y="300"/>
                </a:lnTo>
                <a:lnTo>
                  <a:pt x="1140" y="264"/>
                </a:lnTo>
                <a:lnTo>
                  <a:pt x="1152" y="252"/>
                </a:lnTo>
                <a:lnTo>
                  <a:pt x="1170" y="234"/>
                </a:lnTo>
                <a:lnTo>
                  <a:pt x="1188" y="222"/>
                </a:lnTo>
                <a:lnTo>
                  <a:pt x="1194" y="216"/>
                </a:lnTo>
                <a:lnTo>
                  <a:pt x="1200" y="216"/>
                </a:lnTo>
                <a:lnTo>
                  <a:pt x="1218" y="210"/>
                </a:lnTo>
                <a:lnTo>
                  <a:pt x="1242" y="210"/>
                </a:lnTo>
                <a:lnTo>
                  <a:pt x="1266" y="204"/>
                </a:lnTo>
                <a:lnTo>
                  <a:pt x="1278" y="198"/>
                </a:lnTo>
                <a:lnTo>
                  <a:pt x="1290" y="180"/>
                </a:lnTo>
                <a:lnTo>
                  <a:pt x="1296" y="168"/>
                </a:lnTo>
                <a:lnTo>
                  <a:pt x="1296" y="144"/>
                </a:lnTo>
                <a:lnTo>
                  <a:pt x="1296" y="120"/>
                </a:lnTo>
                <a:lnTo>
                  <a:pt x="1302" y="114"/>
                </a:lnTo>
                <a:lnTo>
                  <a:pt x="1314" y="108"/>
                </a:lnTo>
                <a:lnTo>
                  <a:pt x="1332" y="102"/>
                </a:lnTo>
                <a:lnTo>
                  <a:pt x="1350" y="90"/>
                </a:lnTo>
                <a:lnTo>
                  <a:pt x="1362" y="84"/>
                </a:lnTo>
                <a:lnTo>
                  <a:pt x="1374" y="78"/>
                </a:lnTo>
                <a:lnTo>
                  <a:pt x="1398" y="60"/>
                </a:lnTo>
                <a:lnTo>
                  <a:pt x="1464" y="18"/>
                </a:lnTo>
                <a:lnTo>
                  <a:pt x="1494" y="0"/>
                </a:lnTo>
                <a:lnTo>
                  <a:pt x="1584" y="30"/>
                </a:lnTo>
                <a:lnTo>
                  <a:pt x="1590" y="36"/>
                </a:lnTo>
                <a:lnTo>
                  <a:pt x="1614" y="18"/>
                </a:lnTo>
                <a:lnTo>
                  <a:pt x="1626" y="36"/>
                </a:lnTo>
                <a:lnTo>
                  <a:pt x="1638" y="42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69" name="Freeform 13"/>
          <p:cNvSpPr>
            <a:spLocks/>
          </p:cNvSpPr>
          <p:nvPr/>
        </p:nvSpPr>
        <p:spPr bwMode="gray">
          <a:xfrm>
            <a:off x="433388" y="4451350"/>
            <a:ext cx="1403350" cy="1438275"/>
          </a:xfrm>
          <a:custGeom>
            <a:avLst/>
            <a:gdLst>
              <a:gd name="T0" fmla="*/ 94665 w 1458"/>
              <a:gd name="T1" fmla="*/ 43266 h 1494"/>
              <a:gd name="T2" fmla="*/ 89768 w 1458"/>
              <a:gd name="T3" fmla="*/ 48981 h 1494"/>
              <a:gd name="T4" fmla="*/ 86504 w 1458"/>
              <a:gd name="T5" fmla="*/ 56328 h 1494"/>
              <a:gd name="T6" fmla="*/ 87320 w 1458"/>
              <a:gd name="T7" fmla="*/ 64491 h 1494"/>
              <a:gd name="T8" fmla="*/ 88952 w 1458"/>
              <a:gd name="T9" fmla="*/ 76737 h 1494"/>
              <a:gd name="T10" fmla="*/ 87320 w 1458"/>
              <a:gd name="T11" fmla="*/ 86533 h 1494"/>
              <a:gd name="T12" fmla="*/ 79159 w 1458"/>
              <a:gd name="T13" fmla="*/ 88982 h 1494"/>
              <a:gd name="T14" fmla="*/ 75895 w 1458"/>
              <a:gd name="T15" fmla="*/ 89798 h 1494"/>
              <a:gd name="T16" fmla="*/ 75895 w 1458"/>
              <a:gd name="T17" fmla="*/ 96329 h 1494"/>
              <a:gd name="T18" fmla="*/ 75079 w 1458"/>
              <a:gd name="T19" fmla="*/ 103676 h 1494"/>
              <a:gd name="T20" fmla="*/ 70183 w 1458"/>
              <a:gd name="T21" fmla="*/ 104492 h 1494"/>
              <a:gd name="T22" fmla="*/ 65286 w 1458"/>
              <a:gd name="T23" fmla="*/ 107758 h 1494"/>
              <a:gd name="T24" fmla="*/ 60390 w 1458"/>
              <a:gd name="T25" fmla="*/ 106125 h 1494"/>
              <a:gd name="T26" fmla="*/ 55493 w 1458"/>
              <a:gd name="T27" fmla="*/ 103676 h 1494"/>
              <a:gd name="T28" fmla="*/ 52229 w 1458"/>
              <a:gd name="T29" fmla="*/ 101227 h 1494"/>
              <a:gd name="T30" fmla="*/ 48965 w 1458"/>
              <a:gd name="T31" fmla="*/ 98778 h 1494"/>
              <a:gd name="T32" fmla="*/ 44884 w 1458"/>
              <a:gd name="T33" fmla="*/ 98778 h 1494"/>
              <a:gd name="T34" fmla="*/ 41620 w 1458"/>
              <a:gd name="T35" fmla="*/ 97145 h 1494"/>
              <a:gd name="T36" fmla="*/ 37540 w 1458"/>
              <a:gd name="T37" fmla="*/ 94696 h 1494"/>
              <a:gd name="T38" fmla="*/ 33459 w 1458"/>
              <a:gd name="T39" fmla="*/ 88982 h 1494"/>
              <a:gd name="T40" fmla="*/ 27747 w 1458"/>
              <a:gd name="T41" fmla="*/ 86533 h 1494"/>
              <a:gd name="T42" fmla="*/ 24482 w 1458"/>
              <a:gd name="T43" fmla="*/ 85716 h 1494"/>
              <a:gd name="T44" fmla="*/ 22034 w 1458"/>
              <a:gd name="T45" fmla="*/ 84084 h 1494"/>
              <a:gd name="T46" fmla="*/ 19586 w 1458"/>
              <a:gd name="T47" fmla="*/ 81635 h 1494"/>
              <a:gd name="T48" fmla="*/ 19586 w 1458"/>
              <a:gd name="T49" fmla="*/ 78369 h 1494"/>
              <a:gd name="T50" fmla="*/ 17954 w 1458"/>
              <a:gd name="T51" fmla="*/ 76737 h 1494"/>
              <a:gd name="T52" fmla="*/ 15505 w 1458"/>
              <a:gd name="T53" fmla="*/ 74287 h 1494"/>
              <a:gd name="T54" fmla="*/ 14689 w 1458"/>
              <a:gd name="T55" fmla="*/ 71838 h 1494"/>
              <a:gd name="T56" fmla="*/ 10609 w 1458"/>
              <a:gd name="T57" fmla="*/ 69389 h 1494"/>
              <a:gd name="T58" fmla="*/ 7345 w 1458"/>
              <a:gd name="T59" fmla="*/ 66124 h 1494"/>
              <a:gd name="T60" fmla="*/ 4896 w 1458"/>
              <a:gd name="T61" fmla="*/ 64491 h 1494"/>
              <a:gd name="T62" fmla="*/ 4080 w 1458"/>
              <a:gd name="T63" fmla="*/ 61226 h 1494"/>
              <a:gd name="T64" fmla="*/ 7345 w 1458"/>
              <a:gd name="T65" fmla="*/ 62042 h 1494"/>
              <a:gd name="T66" fmla="*/ 7345 w 1458"/>
              <a:gd name="T67" fmla="*/ 58777 h 1494"/>
              <a:gd name="T68" fmla="*/ 4896 w 1458"/>
              <a:gd name="T69" fmla="*/ 56328 h 1494"/>
              <a:gd name="T70" fmla="*/ 2448 w 1458"/>
              <a:gd name="T71" fmla="*/ 54695 h 1494"/>
              <a:gd name="T72" fmla="*/ 3264 w 1458"/>
              <a:gd name="T73" fmla="*/ 46532 h 1494"/>
              <a:gd name="T74" fmla="*/ 4080 w 1458"/>
              <a:gd name="T75" fmla="*/ 44899 h 1494"/>
              <a:gd name="T76" fmla="*/ 12241 w 1458"/>
              <a:gd name="T77" fmla="*/ 40001 h 1494"/>
              <a:gd name="T78" fmla="*/ 15505 w 1458"/>
              <a:gd name="T79" fmla="*/ 35103 h 1494"/>
              <a:gd name="T80" fmla="*/ 20402 w 1458"/>
              <a:gd name="T81" fmla="*/ 30205 h 1494"/>
              <a:gd name="T82" fmla="*/ 26114 w 1458"/>
              <a:gd name="T83" fmla="*/ 22041 h 1494"/>
              <a:gd name="T84" fmla="*/ 32643 w 1458"/>
              <a:gd name="T85" fmla="*/ 20409 h 1494"/>
              <a:gd name="T86" fmla="*/ 39988 w 1458"/>
              <a:gd name="T87" fmla="*/ 18776 h 1494"/>
              <a:gd name="T88" fmla="*/ 44068 w 1458"/>
              <a:gd name="T89" fmla="*/ 13062 h 1494"/>
              <a:gd name="T90" fmla="*/ 50597 w 1458"/>
              <a:gd name="T91" fmla="*/ 12245 h 1494"/>
              <a:gd name="T92" fmla="*/ 60390 w 1458"/>
              <a:gd name="T93" fmla="*/ 11429 h 1494"/>
              <a:gd name="T94" fmla="*/ 62838 w 1458"/>
              <a:gd name="T95" fmla="*/ 8980 h 1494"/>
              <a:gd name="T96" fmla="*/ 61206 w 1458"/>
              <a:gd name="T97" fmla="*/ 2449 h 1494"/>
              <a:gd name="T98" fmla="*/ 69366 w 1458"/>
              <a:gd name="T99" fmla="*/ 1633 h 1494"/>
              <a:gd name="T100" fmla="*/ 75895 w 1458"/>
              <a:gd name="T101" fmla="*/ 5714 h 1494"/>
              <a:gd name="T102" fmla="*/ 82424 w 1458"/>
              <a:gd name="T103" fmla="*/ 4898 h 1494"/>
              <a:gd name="T104" fmla="*/ 82424 w 1458"/>
              <a:gd name="T105" fmla="*/ 13062 h 1494"/>
              <a:gd name="T106" fmla="*/ 87320 w 1458"/>
              <a:gd name="T107" fmla="*/ 16327 h 1494"/>
              <a:gd name="T108" fmla="*/ 94665 w 1458"/>
              <a:gd name="T109" fmla="*/ 22858 h 1494"/>
              <a:gd name="T110" fmla="*/ 96297 w 1458"/>
              <a:gd name="T111" fmla="*/ 28572 h 1494"/>
              <a:gd name="T112" fmla="*/ 98745 w 1458"/>
              <a:gd name="T113" fmla="*/ 33470 h 149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458" h="1494">
                <a:moveTo>
                  <a:pt x="1458" y="540"/>
                </a:moveTo>
                <a:lnTo>
                  <a:pt x="1434" y="558"/>
                </a:lnTo>
                <a:lnTo>
                  <a:pt x="1410" y="576"/>
                </a:lnTo>
                <a:lnTo>
                  <a:pt x="1404" y="588"/>
                </a:lnTo>
                <a:lnTo>
                  <a:pt x="1392" y="594"/>
                </a:lnTo>
                <a:lnTo>
                  <a:pt x="1374" y="600"/>
                </a:lnTo>
                <a:lnTo>
                  <a:pt x="1350" y="600"/>
                </a:lnTo>
                <a:lnTo>
                  <a:pt x="1338" y="594"/>
                </a:lnTo>
                <a:lnTo>
                  <a:pt x="1326" y="594"/>
                </a:lnTo>
                <a:lnTo>
                  <a:pt x="1308" y="600"/>
                </a:lnTo>
                <a:lnTo>
                  <a:pt x="1302" y="594"/>
                </a:lnTo>
                <a:lnTo>
                  <a:pt x="1284" y="600"/>
                </a:lnTo>
                <a:lnTo>
                  <a:pt x="1266" y="606"/>
                </a:lnTo>
                <a:lnTo>
                  <a:pt x="1248" y="612"/>
                </a:lnTo>
                <a:lnTo>
                  <a:pt x="1248" y="624"/>
                </a:lnTo>
                <a:lnTo>
                  <a:pt x="1248" y="642"/>
                </a:lnTo>
                <a:lnTo>
                  <a:pt x="1248" y="654"/>
                </a:lnTo>
                <a:lnTo>
                  <a:pt x="1248" y="660"/>
                </a:lnTo>
                <a:lnTo>
                  <a:pt x="1248" y="666"/>
                </a:lnTo>
                <a:lnTo>
                  <a:pt x="1242" y="672"/>
                </a:lnTo>
                <a:lnTo>
                  <a:pt x="1236" y="678"/>
                </a:lnTo>
                <a:lnTo>
                  <a:pt x="1230" y="690"/>
                </a:lnTo>
                <a:lnTo>
                  <a:pt x="1224" y="702"/>
                </a:lnTo>
                <a:lnTo>
                  <a:pt x="1218" y="714"/>
                </a:lnTo>
                <a:lnTo>
                  <a:pt x="1206" y="720"/>
                </a:lnTo>
                <a:lnTo>
                  <a:pt x="1194" y="732"/>
                </a:lnTo>
                <a:lnTo>
                  <a:pt x="1194" y="744"/>
                </a:lnTo>
                <a:lnTo>
                  <a:pt x="1200" y="750"/>
                </a:lnTo>
                <a:lnTo>
                  <a:pt x="1200" y="756"/>
                </a:lnTo>
                <a:lnTo>
                  <a:pt x="1200" y="780"/>
                </a:lnTo>
                <a:lnTo>
                  <a:pt x="1206" y="792"/>
                </a:lnTo>
                <a:lnTo>
                  <a:pt x="1206" y="810"/>
                </a:lnTo>
                <a:lnTo>
                  <a:pt x="1206" y="816"/>
                </a:lnTo>
                <a:lnTo>
                  <a:pt x="1200" y="846"/>
                </a:lnTo>
                <a:lnTo>
                  <a:pt x="1200" y="852"/>
                </a:lnTo>
                <a:lnTo>
                  <a:pt x="1200" y="858"/>
                </a:lnTo>
                <a:lnTo>
                  <a:pt x="1200" y="864"/>
                </a:lnTo>
                <a:lnTo>
                  <a:pt x="1200" y="870"/>
                </a:lnTo>
                <a:lnTo>
                  <a:pt x="1206" y="870"/>
                </a:lnTo>
                <a:lnTo>
                  <a:pt x="1206" y="894"/>
                </a:lnTo>
                <a:lnTo>
                  <a:pt x="1212" y="906"/>
                </a:lnTo>
                <a:lnTo>
                  <a:pt x="1212" y="924"/>
                </a:lnTo>
                <a:lnTo>
                  <a:pt x="1218" y="936"/>
                </a:lnTo>
                <a:lnTo>
                  <a:pt x="1218" y="954"/>
                </a:lnTo>
                <a:lnTo>
                  <a:pt x="1224" y="972"/>
                </a:lnTo>
                <a:lnTo>
                  <a:pt x="1224" y="984"/>
                </a:lnTo>
                <a:lnTo>
                  <a:pt x="1230" y="1020"/>
                </a:lnTo>
                <a:lnTo>
                  <a:pt x="1230" y="1032"/>
                </a:lnTo>
                <a:lnTo>
                  <a:pt x="1236" y="1050"/>
                </a:lnTo>
                <a:lnTo>
                  <a:pt x="1230" y="1056"/>
                </a:lnTo>
                <a:lnTo>
                  <a:pt x="1224" y="1062"/>
                </a:lnTo>
                <a:lnTo>
                  <a:pt x="1206" y="1074"/>
                </a:lnTo>
                <a:lnTo>
                  <a:pt x="1206" y="1086"/>
                </a:lnTo>
                <a:lnTo>
                  <a:pt x="1206" y="1092"/>
                </a:lnTo>
                <a:lnTo>
                  <a:pt x="1206" y="1110"/>
                </a:lnTo>
                <a:lnTo>
                  <a:pt x="1212" y="1128"/>
                </a:lnTo>
                <a:lnTo>
                  <a:pt x="1212" y="1134"/>
                </a:lnTo>
                <a:lnTo>
                  <a:pt x="1206" y="1164"/>
                </a:lnTo>
                <a:lnTo>
                  <a:pt x="1206" y="1182"/>
                </a:lnTo>
                <a:lnTo>
                  <a:pt x="1212" y="1200"/>
                </a:lnTo>
                <a:lnTo>
                  <a:pt x="1200" y="1200"/>
                </a:lnTo>
                <a:lnTo>
                  <a:pt x="1194" y="1200"/>
                </a:lnTo>
                <a:lnTo>
                  <a:pt x="1188" y="1200"/>
                </a:lnTo>
                <a:lnTo>
                  <a:pt x="1146" y="1212"/>
                </a:lnTo>
                <a:lnTo>
                  <a:pt x="1152" y="1248"/>
                </a:lnTo>
                <a:lnTo>
                  <a:pt x="1134" y="1248"/>
                </a:lnTo>
                <a:lnTo>
                  <a:pt x="1128" y="1236"/>
                </a:lnTo>
                <a:lnTo>
                  <a:pt x="1116" y="1242"/>
                </a:lnTo>
                <a:lnTo>
                  <a:pt x="1116" y="1224"/>
                </a:lnTo>
                <a:lnTo>
                  <a:pt x="1098" y="1230"/>
                </a:lnTo>
                <a:lnTo>
                  <a:pt x="1080" y="1230"/>
                </a:lnTo>
                <a:lnTo>
                  <a:pt x="1074" y="1230"/>
                </a:lnTo>
                <a:lnTo>
                  <a:pt x="1068" y="1230"/>
                </a:lnTo>
                <a:lnTo>
                  <a:pt x="1068" y="1260"/>
                </a:lnTo>
                <a:lnTo>
                  <a:pt x="1062" y="1260"/>
                </a:lnTo>
                <a:lnTo>
                  <a:pt x="1056" y="1260"/>
                </a:lnTo>
                <a:lnTo>
                  <a:pt x="1056" y="1254"/>
                </a:lnTo>
                <a:lnTo>
                  <a:pt x="1050" y="1254"/>
                </a:lnTo>
                <a:lnTo>
                  <a:pt x="1050" y="1242"/>
                </a:lnTo>
                <a:lnTo>
                  <a:pt x="1044" y="1236"/>
                </a:lnTo>
                <a:lnTo>
                  <a:pt x="1032" y="1236"/>
                </a:lnTo>
                <a:lnTo>
                  <a:pt x="1026" y="1236"/>
                </a:lnTo>
                <a:lnTo>
                  <a:pt x="1026" y="1242"/>
                </a:lnTo>
                <a:lnTo>
                  <a:pt x="1014" y="1260"/>
                </a:lnTo>
                <a:lnTo>
                  <a:pt x="1008" y="1272"/>
                </a:lnTo>
                <a:lnTo>
                  <a:pt x="1032" y="1296"/>
                </a:lnTo>
                <a:lnTo>
                  <a:pt x="1032" y="1308"/>
                </a:lnTo>
                <a:lnTo>
                  <a:pt x="1038" y="1320"/>
                </a:lnTo>
                <a:lnTo>
                  <a:pt x="1044" y="1326"/>
                </a:lnTo>
                <a:lnTo>
                  <a:pt x="1050" y="1326"/>
                </a:lnTo>
                <a:lnTo>
                  <a:pt x="1068" y="1368"/>
                </a:lnTo>
                <a:lnTo>
                  <a:pt x="1062" y="1374"/>
                </a:lnTo>
                <a:lnTo>
                  <a:pt x="1056" y="1380"/>
                </a:lnTo>
                <a:lnTo>
                  <a:pt x="1050" y="1380"/>
                </a:lnTo>
                <a:lnTo>
                  <a:pt x="1050" y="1386"/>
                </a:lnTo>
                <a:lnTo>
                  <a:pt x="1038" y="1392"/>
                </a:lnTo>
                <a:lnTo>
                  <a:pt x="1032" y="1410"/>
                </a:lnTo>
                <a:lnTo>
                  <a:pt x="1032" y="1416"/>
                </a:lnTo>
                <a:lnTo>
                  <a:pt x="1044" y="1428"/>
                </a:lnTo>
                <a:lnTo>
                  <a:pt x="1038" y="1434"/>
                </a:lnTo>
                <a:lnTo>
                  <a:pt x="1032" y="1440"/>
                </a:lnTo>
                <a:lnTo>
                  <a:pt x="1020" y="1452"/>
                </a:lnTo>
                <a:lnTo>
                  <a:pt x="1020" y="1464"/>
                </a:lnTo>
                <a:lnTo>
                  <a:pt x="1008" y="1464"/>
                </a:lnTo>
                <a:lnTo>
                  <a:pt x="1002" y="1458"/>
                </a:lnTo>
                <a:lnTo>
                  <a:pt x="1002" y="1452"/>
                </a:lnTo>
                <a:lnTo>
                  <a:pt x="990" y="1446"/>
                </a:lnTo>
                <a:lnTo>
                  <a:pt x="990" y="1440"/>
                </a:lnTo>
                <a:lnTo>
                  <a:pt x="990" y="1434"/>
                </a:lnTo>
                <a:lnTo>
                  <a:pt x="966" y="1440"/>
                </a:lnTo>
                <a:lnTo>
                  <a:pt x="960" y="1434"/>
                </a:lnTo>
                <a:lnTo>
                  <a:pt x="954" y="1434"/>
                </a:lnTo>
                <a:lnTo>
                  <a:pt x="954" y="1440"/>
                </a:lnTo>
                <a:lnTo>
                  <a:pt x="954" y="1458"/>
                </a:lnTo>
                <a:lnTo>
                  <a:pt x="942" y="1458"/>
                </a:lnTo>
                <a:lnTo>
                  <a:pt x="936" y="1464"/>
                </a:lnTo>
                <a:lnTo>
                  <a:pt x="924" y="1482"/>
                </a:lnTo>
                <a:lnTo>
                  <a:pt x="918" y="1488"/>
                </a:lnTo>
                <a:lnTo>
                  <a:pt x="906" y="1494"/>
                </a:lnTo>
                <a:lnTo>
                  <a:pt x="900" y="1488"/>
                </a:lnTo>
                <a:lnTo>
                  <a:pt x="894" y="1488"/>
                </a:lnTo>
                <a:lnTo>
                  <a:pt x="888" y="1482"/>
                </a:lnTo>
                <a:lnTo>
                  <a:pt x="888" y="1464"/>
                </a:lnTo>
                <a:lnTo>
                  <a:pt x="882" y="1458"/>
                </a:lnTo>
                <a:lnTo>
                  <a:pt x="876" y="1458"/>
                </a:lnTo>
                <a:lnTo>
                  <a:pt x="870" y="1458"/>
                </a:lnTo>
                <a:lnTo>
                  <a:pt x="864" y="1464"/>
                </a:lnTo>
                <a:lnTo>
                  <a:pt x="852" y="1470"/>
                </a:lnTo>
                <a:lnTo>
                  <a:pt x="846" y="1470"/>
                </a:lnTo>
                <a:lnTo>
                  <a:pt x="834" y="1464"/>
                </a:lnTo>
                <a:lnTo>
                  <a:pt x="828" y="1470"/>
                </a:lnTo>
                <a:lnTo>
                  <a:pt x="822" y="1452"/>
                </a:lnTo>
                <a:lnTo>
                  <a:pt x="804" y="1458"/>
                </a:lnTo>
                <a:lnTo>
                  <a:pt x="786" y="1470"/>
                </a:lnTo>
                <a:lnTo>
                  <a:pt x="786" y="1458"/>
                </a:lnTo>
                <a:lnTo>
                  <a:pt x="792" y="1446"/>
                </a:lnTo>
                <a:lnTo>
                  <a:pt x="780" y="1440"/>
                </a:lnTo>
                <a:lnTo>
                  <a:pt x="780" y="1434"/>
                </a:lnTo>
                <a:lnTo>
                  <a:pt x="774" y="1428"/>
                </a:lnTo>
                <a:lnTo>
                  <a:pt x="768" y="1428"/>
                </a:lnTo>
                <a:lnTo>
                  <a:pt x="762" y="1416"/>
                </a:lnTo>
                <a:lnTo>
                  <a:pt x="768" y="1410"/>
                </a:lnTo>
                <a:lnTo>
                  <a:pt x="768" y="1404"/>
                </a:lnTo>
                <a:lnTo>
                  <a:pt x="756" y="1410"/>
                </a:lnTo>
                <a:lnTo>
                  <a:pt x="750" y="1410"/>
                </a:lnTo>
                <a:lnTo>
                  <a:pt x="744" y="1404"/>
                </a:lnTo>
                <a:lnTo>
                  <a:pt x="744" y="1398"/>
                </a:lnTo>
                <a:lnTo>
                  <a:pt x="738" y="1392"/>
                </a:lnTo>
                <a:lnTo>
                  <a:pt x="732" y="1392"/>
                </a:lnTo>
                <a:lnTo>
                  <a:pt x="726" y="1392"/>
                </a:lnTo>
                <a:lnTo>
                  <a:pt x="726" y="1386"/>
                </a:lnTo>
                <a:lnTo>
                  <a:pt x="726" y="1374"/>
                </a:lnTo>
                <a:lnTo>
                  <a:pt x="720" y="1368"/>
                </a:lnTo>
                <a:lnTo>
                  <a:pt x="714" y="1374"/>
                </a:lnTo>
                <a:lnTo>
                  <a:pt x="708" y="1380"/>
                </a:lnTo>
                <a:lnTo>
                  <a:pt x="702" y="1380"/>
                </a:lnTo>
                <a:lnTo>
                  <a:pt x="690" y="1374"/>
                </a:lnTo>
                <a:lnTo>
                  <a:pt x="684" y="1368"/>
                </a:lnTo>
                <a:lnTo>
                  <a:pt x="678" y="1368"/>
                </a:lnTo>
                <a:lnTo>
                  <a:pt x="672" y="1362"/>
                </a:lnTo>
                <a:lnTo>
                  <a:pt x="666" y="1356"/>
                </a:lnTo>
                <a:lnTo>
                  <a:pt x="654" y="1362"/>
                </a:lnTo>
                <a:lnTo>
                  <a:pt x="648" y="1362"/>
                </a:lnTo>
                <a:lnTo>
                  <a:pt x="642" y="1368"/>
                </a:lnTo>
                <a:lnTo>
                  <a:pt x="636" y="1368"/>
                </a:lnTo>
                <a:lnTo>
                  <a:pt x="636" y="1362"/>
                </a:lnTo>
                <a:lnTo>
                  <a:pt x="630" y="1356"/>
                </a:lnTo>
                <a:lnTo>
                  <a:pt x="624" y="1368"/>
                </a:lnTo>
                <a:lnTo>
                  <a:pt x="618" y="1374"/>
                </a:lnTo>
                <a:lnTo>
                  <a:pt x="618" y="1368"/>
                </a:lnTo>
                <a:lnTo>
                  <a:pt x="612" y="1368"/>
                </a:lnTo>
                <a:lnTo>
                  <a:pt x="612" y="1362"/>
                </a:lnTo>
                <a:lnTo>
                  <a:pt x="612" y="1356"/>
                </a:lnTo>
                <a:lnTo>
                  <a:pt x="606" y="1356"/>
                </a:lnTo>
                <a:lnTo>
                  <a:pt x="600" y="1356"/>
                </a:lnTo>
                <a:lnTo>
                  <a:pt x="594" y="1356"/>
                </a:lnTo>
                <a:lnTo>
                  <a:pt x="588" y="1362"/>
                </a:lnTo>
                <a:lnTo>
                  <a:pt x="582" y="1356"/>
                </a:lnTo>
                <a:lnTo>
                  <a:pt x="582" y="1350"/>
                </a:lnTo>
                <a:lnTo>
                  <a:pt x="582" y="1344"/>
                </a:lnTo>
                <a:lnTo>
                  <a:pt x="582" y="1338"/>
                </a:lnTo>
                <a:lnTo>
                  <a:pt x="582" y="1332"/>
                </a:lnTo>
                <a:lnTo>
                  <a:pt x="576" y="1332"/>
                </a:lnTo>
                <a:lnTo>
                  <a:pt x="570" y="1326"/>
                </a:lnTo>
                <a:lnTo>
                  <a:pt x="564" y="1332"/>
                </a:lnTo>
                <a:lnTo>
                  <a:pt x="564" y="1344"/>
                </a:lnTo>
                <a:lnTo>
                  <a:pt x="558" y="1350"/>
                </a:lnTo>
                <a:lnTo>
                  <a:pt x="546" y="1338"/>
                </a:lnTo>
                <a:lnTo>
                  <a:pt x="528" y="1308"/>
                </a:lnTo>
                <a:lnTo>
                  <a:pt x="522" y="1302"/>
                </a:lnTo>
                <a:lnTo>
                  <a:pt x="498" y="1272"/>
                </a:lnTo>
                <a:lnTo>
                  <a:pt x="486" y="1254"/>
                </a:lnTo>
                <a:lnTo>
                  <a:pt x="486" y="1248"/>
                </a:lnTo>
                <a:lnTo>
                  <a:pt x="480" y="1242"/>
                </a:lnTo>
                <a:lnTo>
                  <a:pt x="468" y="1248"/>
                </a:lnTo>
                <a:lnTo>
                  <a:pt x="462" y="1248"/>
                </a:lnTo>
                <a:lnTo>
                  <a:pt x="462" y="1242"/>
                </a:lnTo>
                <a:lnTo>
                  <a:pt x="474" y="1236"/>
                </a:lnTo>
                <a:lnTo>
                  <a:pt x="468" y="1230"/>
                </a:lnTo>
                <a:lnTo>
                  <a:pt x="462" y="1224"/>
                </a:lnTo>
                <a:lnTo>
                  <a:pt x="444" y="1218"/>
                </a:lnTo>
                <a:lnTo>
                  <a:pt x="438" y="1218"/>
                </a:lnTo>
                <a:lnTo>
                  <a:pt x="432" y="1224"/>
                </a:lnTo>
                <a:lnTo>
                  <a:pt x="420" y="1218"/>
                </a:lnTo>
                <a:lnTo>
                  <a:pt x="408" y="1212"/>
                </a:lnTo>
                <a:lnTo>
                  <a:pt x="402" y="1212"/>
                </a:lnTo>
                <a:lnTo>
                  <a:pt x="396" y="1206"/>
                </a:lnTo>
                <a:lnTo>
                  <a:pt x="390" y="1206"/>
                </a:lnTo>
                <a:lnTo>
                  <a:pt x="390" y="1200"/>
                </a:lnTo>
                <a:lnTo>
                  <a:pt x="384" y="1200"/>
                </a:lnTo>
                <a:lnTo>
                  <a:pt x="384" y="1194"/>
                </a:lnTo>
                <a:lnTo>
                  <a:pt x="390" y="1194"/>
                </a:lnTo>
                <a:lnTo>
                  <a:pt x="384" y="1194"/>
                </a:lnTo>
                <a:lnTo>
                  <a:pt x="378" y="1194"/>
                </a:lnTo>
                <a:lnTo>
                  <a:pt x="372" y="1194"/>
                </a:lnTo>
                <a:lnTo>
                  <a:pt x="360" y="1194"/>
                </a:lnTo>
                <a:lnTo>
                  <a:pt x="354" y="1194"/>
                </a:lnTo>
                <a:lnTo>
                  <a:pt x="348" y="1194"/>
                </a:lnTo>
                <a:lnTo>
                  <a:pt x="348" y="1188"/>
                </a:lnTo>
                <a:lnTo>
                  <a:pt x="342" y="1182"/>
                </a:lnTo>
                <a:lnTo>
                  <a:pt x="336" y="1182"/>
                </a:lnTo>
                <a:lnTo>
                  <a:pt x="336" y="1176"/>
                </a:lnTo>
                <a:lnTo>
                  <a:pt x="330" y="1176"/>
                </a:lnTo>
                <a:lnTo>
                  <a:pt x="330" y="1170"/>
                </a:lnTo>
                <a:lnTo>
                  <a:pt x="324" y="1170"/>
                </a:lnTo>
                <a:lnTo>
                  <a:pt x="324" y="1176"/>
                </a:lnTo>
                <a:lnTo>
                  <a:pt x="324" y="1170"/>
                </a:lnTo>
                <a:lnTo>
                  <a:pt x="318" y="1170"/>
                </a:lnTo>
                <a:lnTo>
                  <a:pt x="312" y="1170"/>
                </a:lnTo>
                <a:lnTo>
                  <a:pt x="306" y="1164"/>
                </a:lnTo>
                <a:lnTo>
                  <a:pt x="300" y="1164"/>
                </a:lnTo>
                <a:lnTo>
                  <a:pt x="288" y="1152"/>
                </a:lnTo>
                <a:lnTo>
                  <a:pt x="282" y="1152"/>
                </a:lnTo>
                <a:lnTo>
                  <a:pt x="276" y="1152"/>
                </a:lnTo>
                <a:lnTo>
                  <a:pt x="270" y="1146"/>
                </a:lnTo>
                <a:lnTo>
                  <a:pt x="270" y="1140"/>
                </a:lnTo>
                <a:lnTo>
                  <a:pt x="276" y="1140"/>
                </a:lnTo>
                <a:lnTo>
                  <a:pt x="282" y="1128"/>
                </a:lnTo>
                <a:lnTo>
                  <a:pt x="276" y="1128"/>
                </a:lnTo>
                <a:lnTo>
                  <a:pt x="270" y="1128"/>
                </a:lnTo>
                <a:lnTo>
                  <a:pt x="270" y="1122"/>
                </a:lnTo>
                <a:lnTo>
                  <a:pt x="270" y="1116"/>
                </a:lnTo>
                <a:lnTo>
                  <a:pt x="270" y="1110"/>
                </a:lnTo>
                <a:lnTo>
                  <a:pt x="270" y="1104"/>
                </a:lnTo>
                <a:lnTo>
                  <a:pt x="276" y="1104"/>
                </a:lnTo>
                <a:lnTo>
                  <a:pt x="276" y="1098"/>
                </a:lnTo>
                <a:lnTo>
                  <a:pt x="276" y="1092"/>
                </a:lnTo>
                <a:lnTo>
                  <a:pt x="270" y="1092"/>
                </a:lnTo>
                <a:lnTo>
                  <a:pt x="270" y="1086"/>
                </a:lnTo>
                <a:lnTo>
                  <a:pt x="264" y="1086"/>
                </a:lnTo>
                <a:lnTo>
                  <a:pt x="258" y="1086"/>
                </a:lnTo>
                <a:lnTo>
                  <a:pt x="252" y="1086"/>
                </a:lnTo>
                <a:lnTo>
                  <a:pt x="258" y="1080"/>
                </a:lnTo>
                <a:lnTo>
                  <a:pt x="252" y="1080"/>
                </a:lnTo>
                <a:lnTo>
                  <a:pt x="252" y="1074"/>
                </a:lnTo>
                <a:lnTo>
                  <a:pt x="252" y="1068"/>
                </a:lnTo>
                <a:lnTo>
                  <a:pt x="258" y="1068"/>
                </a:lnTo>
                <a:lnTo>
                  <a:pt x="258" y="1062"/>
                </a:lnTo>
                <a:lnTo>
                  <a:pt x="252" y="1062"/>
                </a:lnTo>
                <a:lnTo>
                  <a:pt x="252" y="1056"/>
                </a:lnTo>
                <a:lnTo>
                  <a:pt x="252" y="1050"/>
                </a:lnTo>
                <a:lnTo>
                  <a:pt x="240" y="1032"/>
                </a:lnTo>
                <a:lnTo>
                  <a:pt x="234" y="1032"/>
                </a:lnTo>
                <a:lnTo>
                  <a:pt x="228" y="1032"/>
                </a:lnTo>
                <a:lnTo>
                  <a:pt x="228" y="1038"/>
                </a:lnTo>
                <a:lnTo>
                  <a:pt x="222" y="1032"/>
                </a:lnTo>
                <a:lnTo>
                  <a:pt x="222" y="1038"/>
                </a:lnTo>
                <a:lnTo>
                  <a:pt x="216" y="1038"/>
                </a:lnTo>
                <a:lnTo>
                  <a:pt x="216" y="1032"/>
                </a:lnTo>
                <a:lnTo>
                  <a:pt x="210" y="1032"/>
                </a:lnTo>
                <a:lnTo>
                  <a:pt x="204" y="1032"/>
                </a:lnTo>
                <a:lnTo>
                  <a:pt x="198" y="1026"/>
                </a:lnTo>
                <a:lnTo>
                  <a:pt x="204" y="1026"/>
                </a:lnTo>
                <a:lnTo>
                  <a:pt x="198" y="1020"/>
                </a:lnTo>
                <a:lnTo>
                  <a:pt x="198" y="1014"/>
                </a:lnTo>
                <a:lnTo>
                  <a:pt x="198" y="1008"/>
                </a:lnTo>
                <a:lnTo>
                  <a:pt x="204" y="1008"/>
                </a:lnTo>
                <a:lnTo>
                  <a:pt x="198" y="1008"/>
                </a:lnTo>
                <a:lnTo>
                  <a:pt x="198" y="1002"/>
                </a:lnTo>
                <a:lnTo>
                  <a:pt x="198" y="996"/>
                </a:lnTo>
                <a:lnTo>
                  <a:pt x="192" y="990"/>
                </a:lnTo>
                <a:lnTo>
                  <a:pt x="186" y="990"/>
                </a:lnTo>
                <a:lnTo>
                  <a:pt x="180" y="996"/>
                </a:lnTo>
                <a:lnTo>
                  <a:pt x="174" y="978"/>
                </a:lnTo>
                <a:lnTo>
                  <a:pt x="168" y="978"/>
                </a:lnTo>
                <a:lnTo>
                  <a:pt x="168" y="972"/>
                </a:lnTo>
                <a:lnTo>
                  <a:pt x="162" y="972"/>
                </a:lnTo>
                <a:lnTo>
                  <a:pt x="162" y="966"/>
                </a:lnTo>
                <a:lnTo>
                  <a:pt x="156" y="966"/>
                </a:lnTo>
                <a:lnTo>
                  <a:pt x="150" y="954"/>
                </a:lnTo>
                <a:lnTo>
                  <a:pt x="144" y="954"/>
                </a:lnTo>
                <a:lnTo>
                  <a:pt x="144" y="948"/>
                </a:lnTo>
                <a:lnTo>
                  <a:pt x="126" y="942"/>
                </a:lnTo>
                <a:lnTo>
                  <a:pt x="120" y="942"/>
                </a:lnTo>
                <a:lnTo>
                  <a:pt x="114" y="942"/>
                </a:lnTo>
                <a:lnTo>
                  <a:pt x="108" y="936"/>
                </a:lnTo>
                <a:lnTo>
                  <a:pt x="102" y="930"/>
                </a:lnTo>
                <a:lnTo>
                  <a:pt x="102" y="924"/>
                </a:lnTo>
                <a:lnTo>
                  <a:pt x="96" y="924"/>
                </a:lnTo>
                <a:lnTo>
                  <a:pt x="96" y="918"/>
                </a:lnTo>
                <a:lnTo>
                  <a:pt x="90" y="918"/>
                </a:lnTo>
                <a:lnTo>
                  <a:pt x="90" y="912"/>
                </a:lnTo>
                <a:lnTo>
                  <a:pt x="84" y="912"/>
                </a:lnTo>
                <a:lnTo>
                  <a:pt x="78" y="906"/>
                </a:lnTo>
                <a:lnTo>
                  <a:pt x="72" y="906"/>
                </a:lnTo>
                <a:lnTo>
                  <a:pt x="66" y="906"/>
                </a:lnTo>
                <a:lnTo>
                  <a:pt x="66" y="900"/>
                </a:lnTo>
                <a:lnTo>
                  <a:pt x="60" y="900"/>
                </a:lnTo>
                <a:lnTo>
                  <a:pt x="60" y="894"/>
                </a:lnTo>
                <a:lnTo>
                  <a:pt x="66" y="894"/>
                </a:lnTo>
                <a:lnTo>
                  <a:pt x="60" y="888"/>
                </a:lnTo>
                <a:lnTo>
                  <a:pt x="54" y="888"/>
                </a:lnTo>
                <a:lnTo>
                  <a:pt x="54" y="870"/>
                </a:lnTo>
                <a:lnTo>
                  <a:pt x="60" y="870"/>
                </a:lnTo>
                <a:lnTo>
                  <a:pt x="60" y="864"/>
                </a:lnTo>
                <a:lnTo>
                  <a:pt x="60" y="858"/>
                </a:lnTo>
                <a:lnTo>
                  <a:pt x="66" y="858"/>
                </a:lnTo>
                <a:lnTo>
                  <a:pt x="66" y="852"/>
                </a:lnTo>
                <a:lnTo>
                  <a:pt x="60" y="852"/>
                </a:lnTo>
                <a:lnTo>
                  <a:pt x="60" y="846"/>
                </a:lnTo>
                <a:lnTo>
                  <a:pt x="66" y="846"/>
                </a:lnTo>
                <a:lnTo>
                  <a:pt x="72" y="846"/>
                </a:lnTo>
                <a:lnTo>
                  <a:pt x="72" y="852"/>
                </a:lnTo>
                <a:lnTo>
                  <a:pt x="78" y="852"/>
                </a:lnTo>
                <a:lnTo>
                  <a:pt x="78" y="858"/>
                </a:lnTo>
                <a:lnTo>
                  <a:pt x="84" y="852"/>
                </a:lnTo>
                <a:lnTo>
                  <a:pt x="90" y="852"/>
                </a:lnTo>
                <a:lnTo>
                  <a:pt x="96" y="852"/>
                </a:lnTo>
                <a:lnTo>
                  <a:pt x="102" y="858"/>
                </a:lnTo>
                <a:lnTo>
                  <a:pt x="102" y="852"/>
                </a:lnTo>
                <a:lnTo>
                  <a:pt x="102" y="846"/>
                </a:lnTo>
                <a:lnTo>
                  <a:pt x="96" y="846"/>
                </a:lnTo>
                <a:lnTo>
                  <a:pt x="102" y="840"/>
                </a:lnTo>
                <a:lnTo>
                  <a:pt x="102" y="834"/>
                </a:lnTo>
                <a:lnTo>
                  <a:pt x="108" y="828"/>
                </a:lnTo>
                <a:lnTo>
                  <a:pt x="96" y="822"/>
                </a:lnTo>
                <a:lnTo>
                  <a:pt x="102" y="816"/>
                </a:lnTo>
                <a:lnTo>
                  <a:pt x="96" y="816"/>
                </a:lnTo>
                <a:lnTo>
                  <a:pt x="96" y="810"/>
                </a:lnTo>
                <a:lnTo>
                  <a:pt x="102" y="810"/>
                </a:lnTo>
                <a:lnTo>
                  <a:pt x="102" y="804"/>
                </a:lnTo>
                <a:lnTo>
                  <a:pt x="102" y="798"/>
                </a:lnTo>
                <a:lnTo>
                  <a:pt x="102" y="786"/>
                </a:lnTo>
                <a:lnTo>
                  <a:pt x="108" y="786"/>
                </a:lnTo>
                <a:lnTo>
                  <a:pt x="102" y="780"/>
                </a:lnTo>
                <a:lnTo>
                  <a:pt x="96" y="780"/>
                </a:lnTo>
                <a:lnTo>
                  <a:pt x="90" y="780"/>
                </a:lnTo>
                <a:lnTo>
                  <a:pt x="84" y="780"/>
                </a:lnTo>
                <a:lnTo>
                  <a:pt x="78" y="780"/>
                </a:lnTo>
                <a:lnTo>
                  <a:pt x="72" y="780"/>
                </a:lnTo>
                <a:lnTo>
                  <a:pt x="66" y="780"/>
                </a:lnTo>
                <a:lnTo>
                  <a:pt x="60" y="780"/>
                </a:lnTo>
                <a:lnTo>
                  <a:pt x="54" y="780"/>
                </a:lnTo>
                <a:lnTo>
                  <a:pt x="48" y="780"/>
                </a:lnTo>
                <a:lnTo>
                  <a:pt x="42" y="780"/>
                </a:lnTo>
                <a:lnTo>
                  <a:pt x="36" y="780"/>
                </a:lnTo>
                <a:lnTo>
                  <a:pt x="30" y="774"/>
                </a:lnTo>
                <a:lnTo>
                  <a:pt x="24" y="768"/>
                </a:lnTo>
                <a:lnTo>
                  <a:pt x="30" y="762"/>
                </a:lnTo>
                <a:lnTo>
                  <a:pt x="36" y="756"/>
                </a:lnTo>
                <a:lnTo>
                  <a:pt x="36" y="750"/>
                </a:lnTo>
                <a:lnTo>
                  <a:pt x="30" y="744"/>
                </a:lnTo>
                <a:lnTo>
                  <a:pt x="42" y="720"/>
                </a:lnTo>
                <a:lnTo>
                  <a:pt x="48" y="708"/>
                </a:lnTo>
                <a:lnTo>
                  <a:pt x="42" y="690"/>
                </a:lnTo>
                <a:lnTo>
                  <a:pt x="42" y="684"/>
                </a:lnTo>
                <a:lnTo>
                  <a:pt x="36" y="666"/>
                </a:lnTo>
                <a:lnTo>
                  <a:pt x="42" y="660"/>
                </a:lnTo>
                <a:lnTo>
                  <a:pt x="42" y="648"/>
                </a:lnTo>
                <a:lnTo>
                  <a:pt x="48" y="642"/>
                </a:lnTo>
                <a:lnTo>
                  <a:pt x="48" y="636"/>
                </a:lnTo>
                <a:lnTo>
                  <a:pt x="42" y="624"/>
                </a:lnTo>
                <a:lnTo>
                  <a:pt x="18" y="642"/>
                </a:lnTo>
                <a:lnTo>
                  <a:pt x="6" y="648"/>
                </a:lnTo>
                <a:lnTo>
                  <a:pt x="0" y="630"/>
                </a:lnTo>
                <a:lnTo>
                  <a:pt x="12" y="624"/>
                </a:lnTo>
                <a:lnTo>
                  <a:pt x="18" y="606"/>
                </a:lnTo>
                <a:lnTo>
                  <a:pt x="42" y="606"/>
                </a:lnTo>
                <a:lnTo>
                  <a:pt x="54" y="612"/>
                </a:lnTo>
                <a:lnTo>
                  <a:pt x="60" y="618"/>
                </a:lnTo>
                <a:lnTo>
                  <a:pt x="66" y="612"/>
                </a:lnTo>
                <a:lnTo>
                  <a:pt x="90" y="618"/>
                </a:lnTo>
                <a:lnTo>
                  <a:pt x="108" y="630"/>
                </a:lnTo>
                <a:lnTo>
                  <a:pt x="120" y="618"/>
                </a:lnTo>
                <a:lnTo>
                  <a:pt x="126" y="606"/>
                </a:lnTo>
                <a:lnTo>
                  <a:pt x="144" y="594"/>
                </a:lnTo>
                <a:lnTo>
                  <a:pt x="150" y="594"/>
                </a:lnTo>
                <a:lnTo>
                  <a:pt x="162" y="588"/>
                </a:lnTo>
                <a:lnTo>
                  <a:pt x="168" y="576"/>
                </a:lnTo>
                <a:lnTo>
                  <a:pt x="174" y="558"/>
                </a:lnTo>
                <a:lnTo>
                  <a:pt x="186" y="558"/>
                </a:lnTo>
                <a:lnTo>
                  <a:pt x="192" y="546"/>
                </a:lnTo>
                <a:lnTo>
                  <a:pt x="198" y="540"/>
                </a:lnTo>
                <a:lnTo>
                  <a:pt x="186" y="534"/>
                </a:lnTo>
                <a:lnTo>
                  <a:pt x="186" y="522"/>
                </a:lnTo>
                <a:lnTo>
                  <a:pt x="186" y="510"/>
                </a:lnTo>
                <a:lnTo>
                  <a:pt x="174" y="498"/>
                </a:lnTo>
                <a:lnTo>
                  <a:pt x="186" y="492"/>
                </a:lnTo>
                <a:lnTo>
                  <a:pt x="198" y="486"/>
                </a:lnTo>
                <a:lnTo>
                  <a:pt x="210" y="486"/>
                </a:lnTo>
                <a:lnTo>
                  <a:pt x="216" y="480"/>
                </a:lnTo>
                <a:lnTo>
                  <a:pt x="228" y="480"/>
                </a:lnTo>
                <a:lnTo>
                  <a:pt x="264" y="480"/>
                </a:lnTo>
                <a:lnTo>
                  <a:pt x="264" y="468"/>
                </a:lnTo>
                <a:lnTo>
                  <a:pt x="264" y="462"/>
                </a:lnTo>
                <a:lnTo>
                  <a:pt x="264" y="456"/>
                </a:lnTo>
                <a:lnTo>
                  <a:pt x="264" y="450"/>
                </a:lnTo>
                <a:lnTo>
                  <a:pt x="264" y="438"/>
                </a:lnTo>
                <a:lnTo>
                  <a:pt x="270" y="426"/>
                </a:lnTo>
                <a:lnTo>
                  <a:pt x="282" y="414"/>
                </a:lnTo>
                <a:lnTo>
                  <a:pt x="288" y="402"/>
                </a:lnTo>
                <a:lnTo>
                  <a:pt x="294" y="390"/>
                </a:lnTo>
                <a:lnTo>
                  <a:pt x="306" y="378"/>
                </a:lnTo>
                <a:lnTo>
                  <a:pt x="312" y="360"/>
                </a:lnTo>
                <a:lnTo>
                  <a:pt x="318" y="354"/>
                </a:lnTo>
                <a:lnTo>
                  <a:pt x="324" y="348"/>
                </a:lnTo>
                <a:lnTo>
                  <a:pt x="324" y="342"/>
                </a:lnTo>
                <a:lnTo>
                  <a:pt x="336" y="306"/>
                </a:lnTo>
                <a:lnTo>
                  <a:pt x="360" y="306"/>
                </a:lnTo>
                <a:lnTo>
                  <a:pt x="366" y="306"/>
                </a:lnTo>
                <a:lnTo>
                  <a:pt x="378" y="300"/>
                </a:lnTo>
                <a:lnTo>
                  <a:pt x="384" y="300"/>
                </a:lnTo>
                <a:lnTo>
                  <a:pt x="390" y="300"/>
                </a:lnTo>
                <a:lnTo>
                  <a:pt x="390" y="288"/>
                </a:lnTo>
                <a:lnTo>
                  <a:pt x="396" y="288"/>
                </a:lnTo>
                <a:lnTo>
                  <a:pt x="408" y="282"/>
                </a:lnTo>
                <a:lnTo>
                  <a:pt x="414" y="276"/>
                </a:lnTo>
                <a:lnTo>
                  <a:pt x="420" y="276"/>
                </a:lnTo>
                <a:lnTo>
                  <a:pt x="432" y="282"/>
                </a:lnTo>
                <a:lnTo>
                  <a:pt x="450" y="282"/>
                </a:lnTo>
                <a:lnTo>
                  <a:pt x="462" y="282"/>
                </a:lnTo>
                <a:lnTo>
                  <a:pt x="468" y="282"/>
                </a:lnTo>
                <a:lnTo>
                  <a:pt x="480" y="276"/>
                </a:lnTo>
                <a:lnTo>
                  <a:pt x="486" y="276"/>
                </a:lnTo>
                <a:lnTo>
                  <a:pt x="498" y="276"/>
                </a:lnTo>
                <a:lnTo>
                  <a:pt x="504" y="276"/>
                </a:lnTo>
                <a:lnTo>
                  <a:pt x="522" y="282"/>
                </a:lnTo>
                <a:lnTo>
                  <a:pt x="546" y="282"/>
                </a:lnTo>
                <a:lnTo>
                  <a:pt x="558" y="276"/>
                </a:lnTo>
                <a:lnTo>
                  <a:pt x="552" y="258"/>
                </a:lnTo>
                <a:lnTo>
                  <a:pt x="558" y="258"/>
                </a:lnTo>
                <a:lnTo>
                  <a:pt x="558" y="252"/>
                </a:lnTo>
                <a:lnTo>
                  <a:pt x="564" y="246"/>
                </a:lnTo>
                <a:lnTo>
                  <a:pt x="576" y="246"/>
                </a:lnTo>
                <a:lnTo>
                  <a:pt x="588" y="240"/>
                </a:lnTo>
                <a:lnTo>
                  <a:pt x="594" y="240"/>
                </a:lnTo>
                <a:lnTo>
                  <a:pt x="594" y="228"/>
                </a:lnTo>
                <a:lnTo>
                  <a:pt x="594" y="216"/>
                </a:lnTo>
                <a:lnTo>
                  <a:pt x="588" y="210"/>
                </a:lnTo>
                <a:lnTo>
                  <a:pt x="606" y="186"/>
                </a:lnTo>
                <a:lnTo>
                  <a:pt x="612" y="174"/>
                </a:lnTo>
                <a:lnTo>
                  <a:pt x="618" y="174"/>
                </a:lnTo>
                <a:lnTo>
                  <a:pt x="624" y="174"/>
                </a:lnTo>
                <a:lnTo>
                  <a:pt x="630" y="180"/>
                </a:lnTo>
                <a:lnTo>
                  <a:pt x="636" y="180"/>
                </a:lnTo>
                <a:lnTo>
                  <a:pt x="648" y="180"/>
                </a:lnTo>
                <a:lnTo>
                  <a:pt x="654" y="180"/>
                </a:lnTo>
                <a:lnTo>
                  <a:pt x="678" y="174"/>
                </a:lnTo>
                <a:lnTo>
                  <a:pt x="678" y="180"/>
                </a:lnTo>
                <a:lnTo>
                  <a:pt x="702" y="174"/>
                </a:lnTo>
                <a:lnTo>
                  <a:pt x="708" y="162"/>
                </a:lnTo>
                <a:lnTo>
                  <a:pt x="732" y="162"/>
                </a:lnTo>
                <a:lnTo>
                  <a:pt x="738" y="162"/>
                </a:lnTo>
                <a:lnTo>
                  <a:pt x="744" y="186"/>
                </a:lnTo>
                <a:lnTo>
                  <a:pt x="750" y="186"/>
                </a:lnTo>
                <a:lnTo>
                  <a:pt x="762" y="186"/>
                </a:lnTo>
                <a:lnTo>
                  <a:pt x="810" y="180"/>
                </a:lnTo>
                <a:lnTo>
                  <a:pt x="816" y="174"/>
                </a:lnTo>
                <a:lnTo>
                  <a:pt x="828" y="174"/>
                </a:lnTo>
                <a:lnTo>
                  <a:pt x="834" y="162"/>
                </a:lnTo>
                <a:lnTo>
                  <a:pt x="828" y="156"/>
                </a:lnTo>
                <a:lnTo>
                  <a:pt x="834" y="144"/>
                </a:lnTo>
                <a:lnTo>
                  <a:pt x="834" y="138"/>
                </a:lnTo>
                <a:lnTo>
                  <a:pt x="834" y="132"/>
                </a:lnTo>
                <a:lnTo>
                  <a:pt x="840" y="132"/>
                </a:lnTo>
                <a:lnTo>
                  <a:pt x="858" y="108"/>
                </a:lnTo>
                <a:lnTo>
                  <a:pt x="858" y="120"/>
                </a:lnTo>
                <a:lnTo>
                  <a:pt x="864" y="120"/>
                </a:lnTo>
                <a:lnTo>
                  <a:pt x="870" y="126"/>
                </a:lnTo>
                <a:lnTo>
                  <a:pt x="870" y="120"/>
                </a:lnTo>
                <a:lnTo>
                  <a:pt x="870" y="108"/>
                </a:lnTo>
                <a:lnTo>
                  <a:pt x="864" y="102"/>
                </a:lnTo>
                <a:lnTo>
                  <a:pt x="864" y="96"/>
                </a:lnTo>
                <a:lnTo>
                  <a:pt x="852" y="78"/>
                </a:lnTo>
                <a:lnTo>
                  <a:pt x="852" y="72"/>
                </a:lnTo>
                <a:lnTo>
                  <a:pt x="852" y="66"/>
                </a:lnTo>
                <a:lnTo>
                  <a:pt x="852" y="60"/>
                </a:lnTo>
                <a:lnTo>
                  <a:pt x="846" y="54"/>
                </a:lnTo>
                <a:lnTo>
                  <a:pt x="834" y="36"/>
                </a:lnTo>
                <a:lnTo>
                  <a:pt x="846" y="30"/>
                </a:lnTo>
                <a:lnTo>
                  <a:pt x="852" y="30"/>
                </a:lnTo>
                <a:lnTo>
                  <a:pt x="858" y="30"/>
                </a:lnTo>
                <a:lnTo>
                  <a:pt x="858" y="36"/>
                </a:lnTo>
                <a:lnTo>
                  <a:pt x="882" y="30"/>
                </a:lnTo>
                <a:lnTo>
                  <a:pt x="894" y="60"/>
                </a:lnTo>
                <a:lnTo>
                  <a:pt x="906" y="42"/>
                </a:lnTo>
                <a:lnTo>
                  <a:pt x="930" y="54"/>
                </a:lnTo>
                <a:lnTo>
                  <a:pt x="930" y="12"/>
                </a:lnTo>
                <a:lnTo>
                  <a:pt x="930" y="0"/>
                </a:lnTo>
                <a:lnTo>
                  <a:pt x="954" y="24"/>
                </a:lnTo>
                <a:lnTo>
                  <a:pt x="966" y="30"/>
                </a:lnTo>
                <a:lnTo>
                  <a:pt x="990" y="36"/>
                </a:lnTo>
                <a:lnTo>
                  <a:pt x="996" y="54"/>
                </a:lnTo>
                <a:lnTo>
                  <a:pt x="1008" y="54"/>
                </a:lnTo>
                <a:lnTo>
                  <a:pt x="1020" y="54"/>
                </a:lnTo>
                <a:lnTo>
                  <a:pt x="1026" y="54"/>
                </a:lnTo>
                <a:lnTo>
                  <a:pt x="1032" y="60"/>
                </a:lnTo>
                <a:lnTo>
                  <a:pt x="1038" y="78"/>
                </a:lnTo>
                <a:lnTo>
                  <a:pt x="1050" y="84"/>
                </a:lnTo>
                <a:lnTo>
                  <a:pt x="1056" y="84"/>
                </a:lnTo>
                <a:lnTo>
                  <a:pt x="1068" y="84"/>
                </a:lnTo>
                <a:lnTo>
                  <a:pt x="1080" y="84"/>
                </a:lnTo>
                <a:lnTo>
                  <a:pt x="1086" y="84"/>
                </a:lnTo>
                <a:lnTo>
                  <a:pt x="1098" y="84"/>
                </a:lnTo>
                <a:lnTo>
                  <a:pt x="1110" y="78"/>
                </a:lnTo>
                <a:lnTo>
                  <a:pt x="1122" y="66"/>
                </a:lnTo>
                <a:lnTo>
                  <a:pt x="1122" y="72"/>
                </a:lnTo>
                <a:lnTo>
                  <a:pt x="1128" y="78"/>
                </a:lnTo>
                <a:lnTo>
                  <a:pt x="1134" y="78"/>
                </a:lnTo>
                <a:lnTo>
                  <a:pt x="1134" y="72"/>
                </a:lnTo>
                <a:lnTo>
                  <a:pt x="1140" y="72"/>
                </a:lnTo>
                <a:lnTo>
                  <a:pt x="1146" y="78"/>
                </a:lnTo>
                <a:lnTo>
                  <a:pt x="1152" y="96"/>
                </a:lnTo>
                <a:lnTo>
                  <a:pt x="1158" y="108"/>
                </a:lnTo>
                <a:lnTo>
                  <a:pt x="1158" y="126"/>
                </a:lnTo>
                <a:lnTo>
                  <a:pt x="1164" y="132"/>
                </a:lnTo>
                <a:lnTo>
                  <a:pt x="1146" y="138"/>
                </a:lnTo>
                <a:lnTo>
                  <a:pt x="1146" y="150"/>
                </a:lnTo>
                <a:lnTo>
                  <a:pt x="1140" y="162"/>
                </a:lnTo>
                <a:lnTo>
                  <a:pt x="1140" y="180"/>
                </a:lnTo>
                <a:lnTo>
                  <a:pt x="1128" y="192"/>
                </a:lnTo>
                <a:lnTo>
                  <a:pt x="1134" y="204"/>
                </a:lnTo>
                <a:lnTo>
                  <a:pt x="1140" y="228"/>
                </a:lnTo>
                <a:lnTo>
                  <a:pt x="1152" y="228"/>
                </a:lnTo>
                <a:lnTo>
                  <a:pt x="1164" y="234"/>
                </a:lnTo>
                <a:lnTo>
                  <a:pt x="1176" y="240"/>
                </a:lnTo>
                <a:lnTo>
                  <a:pt x="1188" y="240"/>
                </a:lnTo>
                <a:lnTo>
                  <a:pt x="1194" y="234"/>
                </a:lnTo>
                <a:lnTo>
                  <a:pt x="1200" y="234"/>
                </a:lnTo>
                <a:lnTo>
                  <a:pt x="1212" y="228"/>
                </a:lnTo>
                <a:lnTo>
                  <a:pt x="1224" y="222"/>
                </a:lnTo>
                <a:lnTo>
                  <a:pt x="1242" y="234"/>
                </a:lnTo>
                <a:lnTo>
                  <a:pt x="1260" y="252"/>
                </a:lnTo>
                <a:lnTo>
                  <a:pt x="1266" y="264"/>
                </a:lnTo>
                <a:lnTo>
                  <a:pt x="1284" y="276"/>
                </a:lnTo>
                <a:lnTo>
                  <a:pt x="1290" y="282"/>
                </a:lnTo>
                <a:lnTo>
                  <a:pt x="1302" y="288"/>
                </a:lnTo>
                <a:lnTo>
                  <a:pt x="1302" y="300"/>
                </a:lnTo>
                <a:lnTo>
                  <a:pt x="1302" y="312"/>
                </a:lnTo>
                <a:lnTo>
                  <a:pt x="1308" y="318"/>
                </a:lnTo>
                <a:lnTo>
                  <a:pt x="1320" y="324"/>
                </a:lnTo>
                <a:lnTo>
                  <a:pt x="1326" y="324"/>
                </a:lnTo>
                <a:lnTo>
                  <a:pt x="1326" y="330"/>
                </a:lnTo>
                <a:lnTo>
                  <a:pt x="1326" y="336"/>
                </a:lnTo>
                <a:lnTo>
                  <a:pt x="1326" y="348"/>
                </a:lnTo>
                <a:lnTo>
                  <a:pt x="1332" y="354"/>
                </a:lnTo>
                <a:lnTo>
                  <a:pt x="1320" y="366"/>
                </a:lnTo>
                <a:lnTo>
                  <a:pt x="1314" y="372"/>
                </a:lnTo>
                <a:lnTo>
                  <a:pt x="1320" y="378"/>
                </a:lnTo>
                <a:lnTo>
                  <a:pt x="1326" y="390"/>
                </a:lnTo>
                <a:lnTo>
                  <a:pt x="1326" y="402"/>
                </a:lnTo>
                <a:lnTo>
                  <a:pt x="1332" y="414"/>
                </a:lnTo>
                <a:lnTo>
                  <a:pt x="1338" y="420"/>
                </a:lnTo>
                <a:lnTo>
                  <a:pt x="1344" y="426"/>
                </a:lnTo>
                <a:lnTo>
                  <a:pt x="1350" y="426"/>
                </a:lnTo>
                <a:lnTo>
                  <a:pt x="1350" y="438"/>
                </a:lnTo>
                <a:lnTo>
                  <a:pt x="1356" y="444"/>
                </a:lnTo>
                <a:lnTo>
                  <a:pt x="1362" y="450"/>
                </a:lnTo>
                <a:lnTo>
                  <a:pt x="1362" y="456"/>
                </a:lnTo>
                <a:lnTo>
                  <a:pt x="1368" y="468"/>
                </a:lnTo>
                <a:lnTo>
                  <a:pt x="1374" y="474"/>
                </a:lnTo>
                <a:lnTo>
                  <a:pt x="1374" y="480"/>
                </a:lnTo>
                <a:lnTo>
                  <a:pt x="1380" y="486"/>
                </a:lnTo>
                <a:lnTo>
                  <a:pt x="1386" y="492"/>
                </a:lnTo>
                <a:lnTo>
                  <a:pt x="1404" y="504"/>
                </a:lnTo>
                <a:lnTo>
                  <a:pt x="1416" y="510"/>
                </a:lnTo>
                <a:lnTo>
                  <a:pt x="1434" y="522"/>
                </a:lnTo>
                <a:lnTo>
                  <a:pt x="1446" y="528"/>
                </a:lnTo>
                <a:lnTo>
                  <a:pt x="1458" y="540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70" name="Freeform 14"/>
          <p:cNvSpPr>
            <a:spLocks/>
          </p:cNvSpPr>
          <p:nvPr/>
        </p:nvSpPr>
        <p:spPr bwMode="gray">
          <a:xfrm>
            <a:off x="355600" y="2582863"/>
            <a:ext cx="2001838" cy="1355725"/>
          </a:xfrm>
          <a:custGeom>
            <a:avLst/>
            <a:gdLst>
              <a:gd name="T0" fmla="*/ 144104 w 2076"/>
              <a:gd name="T1" fmla="*/ 46534 h 1410"/>
              <a:gd name="T2" fmla="*/ 149016 w 2076"/>
              <a:gd name="T3" fmla="*/ 56331 h 1410"/>
              <a:gd name="T4" fmla="*/ 146560 w 2076"/>
              <a:gd name="T5" fmla="*/ 63678 h 1410"/>
              <a:gd name="T6" fmla="*/ 147379 w 2076"/>
              <a:gd name="T7" fmla="*/ 71026 h 1410"/>
              <a:gd name="T8" fmla="*/ 147379 w 2076"/>
              <a:gd name="T9" fmla="*/ 75924 h 1410"/>
              <a:gd name="T10" fmla="*/ 147379 w 2076"/>
              <a:gd name="T11" fmla="*/ 80822 h 1410"/>
              <a:gd name="T12" fmla="*/ 144104 w 2076"/>
              <a:gd name="T13" fmla="*/ 87353 h 1410"/>
              <a:gd name="T14" fmla="*/ 141647 w 2076"/>
              <a:gd name="T15" fmla="*/ 94701 h 1410"/>
              <a:gd name="T16" fmla="*/ 139191 w 2076"/>
              <a:gd name="T17" fmla="*/ 97150 h 1410"/>
              <a:gd name="T18" fmla="*/ 136735 w 2076"/>
              <a:gd name="T19" fmla="*/ 99599 h 1410"/>
              <a:gd name="T20" fmla="*/ 133460 w 2076"/>
              <a:gd name="T21" fmla="*/ 96333 h 1410"/>
              <a:gd name="T22" fmla="*/ 135916 w 2076"/>
              <a:gd name="T23" fmla="*/ 88170 h 1410"/>
              <a:gd name="T24" fmla="*/ 135097 w 2076"/>
              <a:gd name="T25" fmla="*/ 78373 h 1410"/>
              <a:gd name="T26" fmla="*/ 131822 w 2076"/>
              <a:gd name="T27" fmla="*/ 77557 h 1410"/>
              <a:gd name="T28" fmla="*/ 126091 w 2076"/>
              <a:gd name="T29" fmla="*/ 76740 h 1410"/>
              <a:gd name="T30" fmla="*/ 119541 w 2076"/>
              <a:gd name="T31" fmla="*/ 77557 h 1410"/>
              <a:gd name="T32" fmla="*/ 113809 w 2076"/>
              <a:gd name="T33" fmla="*/ 79189 h 1410"/>
              <a:gd name="T34" fmla="*/ 108078 w 2076"/>
              <a:gd name="T35" fmla="*/ 84088 h 1410"/>
              <a:gd name="T36" fmla="*/ 101528 w 2076"/>
              <a:gd name="T37" fmla="*/ 79189 h 1410"/>
              <a:gd name="T38" fmla="*/ 97434 w 2076"/>
              <a:gd name="T39" fmla="*/ 79189 h 1410"/>
              <a:gd name="T40" fmla="*/ 91702 w 2076"/>
              <a:gd name="T41" fmla="*/ 82455 h 1410"/>
              <a:gd name="T42" fmla="*/ 81058 w 2076"/>
              <a:gd name="T43" fmla="*/ 84088 h 1410"/>
              <a:gd name="T44" fmla="*/ 76146 w 2076"/>
              <a:gd name="T45" fmla="*/ 84904 h 1410"/>
              <a:gd name="T46" fmla="*/ 70414 w 2076"/>
              <a:gd name="T47" fmla="*/ 88986 h 1410"/>
              <a:gd name="T48" fmla="*/ 67958 w 2076"/>
              <a:gd name="T49" fmla="*/ 84088 h 1410"/>
              <a:gd name="T50" fmla="*/ 62227 w 2076"/>
              <a:gd name="T51" fmla="*/ 86537 h 1410"/>
              <a:gd name="T52" fmla="*/ 56495 w 2076"/>
              <a:gd name="T53" fmla="*/ 91435 h 1410"/>
              <a:gd name="T54" fmla="*/ 49126 w 2076"/>
              <a:gd name="T55" fmla="*/ 89802 h 1410"/>
              <a:gd name="T56" fmla="*/ 40939 w 2076"/>
              <a:gd name="T57" fmla="*/ 88170 h 1410"/>
              <a:gd name="T58" fmla="*/ 32751 w 2076"/>
              <a:gd name="T59" fmla="*/ 92252 h 1410"/>
              <a:gd name="T60" fmla="*/ 25382 w 2076"/>
              <a:gd name="T61" fmla="*/ 87353 h 1410"/>
              <a:gd name="T62" fmla="*/ 25382 w 2076"/>
              <a:gd name="T63" fmla="*/ 81639 h 1410"/>
              <a:gd name="T64" fmla="*/ 30295 w 2076"/>
              <a:gd name="T65" fmla="*/ 74291 h 1410"/>
              <a:gd name="T66" fmla="*/ 26201 w 2076"/>
              <a:gd name="T67" fmla="*/ 71026 h 1410"/>
              <a:gd name="T68" fmla="*/ 24563 w 2076"/>
              <a:gd name="T69" fmla="*/ 64494 h 1410"/>
              <a:gd name="T70" fmla="*/ 18013 w 2076"/>
              <a:gd name="T71" fmla="*/ 63678 h 1410"/>
              <a:gd name="T72" fmla="*/ 12282 w 2076"/>
              <a:gd name="T73" fmla="*/ 61229 h 1410"/>
              <a:gd name="T74" fmla="*/ 6550 w 2076"/>
              <a:gd name="T75" fmla="*/ 60412 h 1410"/>
              <a:gd name="T76" fmla="*/ 1638 w 2076"/>
              <a:gd name="T77" fmla="*/ 59596 h 1410"/>
              <a:gd name="T78" fmla="*/ 1638 w 2076"/>
              <a:gd name="T79" fmla="*/ 56331 h 1410"/>
              <a:gd name="T80" fmla="*/ 5731 w 2076"/>
              <a:gd name="T81" fmla="*/ 55514 h 1410"/>
              <a:gd name="T82" fmla="*/ 8188 w 2076"/>
              <a:gd name="T83" fmla="*/ 51432 h 1410"/>
              <a:gd name="T84" fmla="*/ 10644 w 2076"/>
              <a:gd name="T85" fmla="*/ 46534 h 1410"/>
              <a:gd name="T86" fmla="*/ 15557 w 2076"/>
              <a:gd name="T87" fmla="*/ 43268 h 1410"/>
              <a:gd name="T88" fmla="*/ 22107 w 2076"/>
              <a:gd name="T89" fmla="*/ 44901 h 1410"/>
              <a:gd name="T90" fmla="*/ 29476 w 2076"/>
              <a:gd name="T91" fmla="*/ 48983 h 1410"/>
              <a:gd name="T92" fmla="*/ 38482 w 2076"/>
              <a:gd name="T93" fmla="*/ 52249 h 1410"/>
              <a:gd name="T94" fmla="*/ 48308 w 2076"/>
              <a:gd name="T95" fmla="*/ 50616 h 1410"/>
              <a:gd name="T96" fmla="*/ 62227 w 2076"/>
              <a:gd name="T97" fmla="*/ 40003 h 1410"/>
              <a:gd name="T98" fmla="*/ 60589 w 2076"/>
              <a:gd name="T99" fmla="*/ 31023 h 1410"/>
              <a:gd name="T100" fmla="*/ 58133 w 2076"/>
              <a:gd name="T101" fmla="*/ 23675 h 1410"/>
              <a:gd name="T102" fmla="*/ 61408 w 2076"/>
              <a:gd name="T103" fmla="*/ 13879 h 1410"/>
              <a:gd name="T104" fmla="*/ 65502 w 2076"/>
              <a:gd name="T105" fmla="*/ 4082 h 1410"/>
              <a:gd name="T106" fmla="*/ 75327 w 2076"/>
              <a:gd name="T107" fmla="*/ 816 h 1410"/>
              <a:gd name="T108" fmla="*/ 85971 w 2076"/>
              <a:gd name="T109" fmla="*/ 4082 h 1410"/>
              <a:gd name="T110" fmla="*/ 95796 w 2076"/>
              <a:gd name="T111" fmla="*/ 13062 h 1410"/>
              <a:gd name="T112" fmla="*/ 103984 w 2076"/>
              <a:gd name="T113" fmla="*/ 19593 h 1410"/>
              <a:gd name="T114" fmla="*/ 111353 w 2076"/>
              <a:gd name="T115" fmla="*/ 25308 h 1410"/>
              <a:gd name="T116" fmla="*/ 121997 w 2076"/>
              <a:gd name="T117" fmla="*/ 31023 h 1410"/>
              <a:gd name="T118" fmla="*/ 126910 w 2076"/>
              <a:gd name="T119" fmla="*/ 33472 h 1410"/>
              <a:gd name="T120" fmla="*/ 138372 w 2076"/>
              <a:gd name="T121" fmla="*/ 33472 h 141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076" h="1410">
                <a:moveTo>
                  <a:pt x="1968" y="456"/>
                </a:moveTo>
                <a:lnTo>
                  <a:pt x="1974" y="468"/>
                </a:lnTo>
                <a:lnTo>
                  <a:pt x="1980" y="486"/>
                </a:lnTo>
                <a:lnTo>
                  <a:pt x="1980" y="522"/>
                </a:lnTo>
                <a:lnTo>
                  <a:pt x="1974" y="564"/>
                </a:lnTo>
                <a:lnTo>
                  <a:pt x="1974" y="576"/>
                </a:lnTo>
                <a:lnTo>
                  <a:pt x="1980" y="582"/>
                </a:lnTo>
                <a:lnTo>
                  <a:pt x="1986" y="594"/>
                </a:lnTo>
                <a:lnTo>
                  <a:pt x="1986" y="600"/>
                </a:lnTo>
                <a:lnTo>
                  <a:pt x="1974" y="648"/>
                </a:lnTo>
                <a:lnTo>
                  <a:pt x="1974" y="654"/>
                </a:lnTo>
                <a:lnTo>
                  <a:pt x="1974" y="672"/>
                </a:lnTo>
                <a:lnTo>
                  <a:pt x="1986" y="690"/>
                </a:lnTo>
                <a:lnTo>
                  <a:pt x="2004" y="690"/>
                </a:lnTo>
                <a:lnTo>
                  <a:pt x="2016" y="702"/>
                </a:lnTo>
                <a:lnTo>
                  <a:pt x="2034" y="702"/>
                </a:lnTo>
                <a:lnTo>
                  <a:pt x="2040" y="702"/>
                </a:lnTo>
                <a:lnTo>
                  <a:pt x="2040" y="738"/>
                </a:lnTo>
                <a:lnTo>
                  <a:pt x="2028" y="768"/>
                </a:lnTo>
                <a:lnTo>
                  <a:pt x="2046" y="780"/>
                </a:lnTo>
                <a:lnTo>
                  <a:pt x="2040" y="792"/>
                </a:lnTo>
                <a:lnTo>
                  <a:pt x="2034" y="816"/>
                </a:lnTo>
                <a:lnTo>
                  <a:pt x="2046" y="828"/>
                </a:lnTo>
                <a:lnTo>
                  <a:pt x="2058" y="816"/>
                </a:lnTo>
                <a:lnTo>
                  <a:pt x="2076" y="828"/>
                </a:lnTo>
                <a:lnTo>
                  <a:pt x="2058" y="852"/>
                </a:lnTo>
                <a:lnTo>
                  <a:pt x="2052" y="858"/>
                </a:lnTo>
                <a:lnTo>
                  <a:pt x="2040" y="864"/>
                </a:lnTo>
                <a:lnTo>
                  <a:pt x="2016" y="864"/>
                </a:lnTo>
                <a:lnTo>
                  <a:pt x="2010" y="876"/>
                </a:lnTo>
                <a:lnTo>
                  <a:pt x="2016" y="894"/>
                </a:lnTo>
                <a:lnTo>
                  <a:pt x="2022" y="906"/>
                </a:lnTo>
                <a:lnTo>
                  <a:pt x="2034" y="912"/>
                </a:lnTo>
                <a:lnTo>
                  <a:pt x="2046" y="918"/>
                </a:lnTo>
                <a:lnTo>
                  <a:pt x="2052" y="930"/>
                </a:lnTo>
                <a:lnTo>
                  <a:pt x="2052" y="948"/>
                </a:lnTo>
                <a:lnTo>
                  <a:pt x="2034" y="948"/>
                </a:lnTo>
                <a:lnTo>
                  <a:pt x="2028" y="960"/>
                </a:lnTo>
                <a:lnTo>
                  <a:pt x="2028" y="966"/>
                </a:lnTo>
                <a:lnTo>
                  <a:pt x="2022" y="978"/>
                </a:lnTo>
                <a:lnTo>
                  <a:pt x="2010" y="990"/>
                </a:lnTo>
                <a:lnTo>
                  <a:pt x="2004" y="990"/>
                </a:lnTo>
                <a:lnTo>
                  <a:pt x="2010" y="996"/>
                </a:lnTo>
                <a:lnTo>
                  <a:pt x="2016" y="996"/>
                </a:lnTo>
                <a:lnTo>
                  <a:pt x="2016" y="1002"/>
                </a:lnTo>
                <a:lnTo>
                  <a:pt x="2022" y="1014"/>
                </a:lnTo>
                <a:lnTo>
                  <a:pt x="2016" y="1020"/>
                </a:lnTo>
                <a:lnTo>
                  <a:pt x="2016" y="1026"/>
                </a:lnTo>
                <a:lnTo>
                  <a:pt x="2016" y="1032"/>
                </a:lnTo>
                <a:lnTo>
                  <a:pt x="2016" y="1044"/>
                </a:lnTo>
                <a:lnTo>
                  <a:pt x="2016" y="1050"/>
                </a:lnTo>
                <a:lnTo>
                  <a:pt x="2016" y="1056"/>
                </a:lnTo>
                <a:lnTo>
                  <a:pt x="2028" y="1050"/>
                </a:lnTo>
                <a:lnTo>
                  <a:pt x="2034" y="1056"/>
                </a:lnTo>
                <a:lnTo>
                  <a:pt x="2028" y="1080"/>
                </a:lnTo>
                <a:lnTo>
                  <a:pt x="2034" y="1086"/>
                </a:lnTo>
                <a:lnTo>
                  <a:pt x="2040" y="1086"/>
                </a:lnTo>
                <a:lnTo>
                  <a:pt x="2034" y="1092"/>
                </a:lnTo>
                <a:lnTo>
                  <a:pt x="2028" y="1098"/>
                </a:lnTo>
                <a:lnTo>
                  <a:pt x="2022" y="1116"/>
                </a:lnTo>
                <a:lnTo>
                  <a:pt x="2022" y="1122"/>
                </a:lnTo>
                <a:lnTo>
                  <a:pt x="2022" y="1134"/>
                </a:lnTo>
                <a:lnTo>
                  <a:pt x="2022" y="1146"/>
                </a:lnTo>
                <a:lnTo>
                  <a:pt x="2022" y="1152"/>
                </a:lnTo>
                <a:lnTo>
                  <a:pt x="2016" y="1158"/>
                </a:lnTo>
                <a:lnTo>
                  <a:pt x="2028" y="1170"/>
                </a:lnTo>
                <a:lnTo>
                  <a:pt x="2010" y="1188"/>
                </a:lnTo>
                <a:lnTo>
                  <a:pt x="1998" y="1194"/>
                </a:lnTo>
                <a:lnTo>
                  <a:pt x="1980" y="1188"/>
                </a:lnTo>
                <a:lnTo>
                  <a:pt x="1968" y="1206"/>
                </a:lnTo>
                <a:lnTo>
                  <a:pt x="1944" y="1230"/>
                </a:lnTo>
                <a:lnTo>
                  <a:pt x="1950" y="1236"/>
                </a:lnTo>
                <a:lnTo>
                  <a:pt x="1950" y="1242"/>
                </a:lnTo>
                <a:lnTo>
                  <a:pt x="1950" y="1248"/>
                </a:lnTo>
                <a:lnTo>
                  <a:pt x="1956" y="1254"/>
                </a:lnTo>
                <a:lnTo>
                  <a:pt x="1956" y="1260"/>
                </a:lnTo>
                <a:lnTo>
                  <a:pt x="1950" y="1272"/>
                </a:lnTo>
                <a:lnTo>
                  <a:pt x="1950" y="1284"/>
                </a:lnTo>
                <a:lnTo>
                  <a:pt x="1956" y="1290"/>
                </a:lnTo>
                <a:lnTo>
                  <a:pt x="1938" y="1314"/>
                </a:lnTo>
                <a:lnTo>
                  <a:pt x="1938" y="1308"/>
                </a:lnTo>
                <a:lnTo>
                  <a:pt x="1932" y="1302"/>
                </a:lnTo>
                <a:lnTo>
                  <a:pt x="1920" y="1308"/>
                </a:lnTo>
                <a:lnTo>
                  <a:pt x="1914" y="1302"/>
                </a:lnTo>
                <a:lnTo>
                  <a:pt x="1902" y="1308"/>
                </a:lnTo>
                <a:lnTo>
                  <a:pt x="1896" y="1314"/>
                </a:lnTo>
                <a:lnTo>
                  <a:pt x="1902" y="1320"/>
                </a:lnTo>
                <a:lnTo>
                  <a:pt x="1890" y="1326"/>
                </a:lnTo>
                <a:lnTo>
                  <a:pt x="1902" y="1332"/>
                </a:lnTo>
                <a:lnTo>
                  <a:pt x="1902" y="1344"/>
                </a:lnTo>
                <a:lnTo>
                  <a:pt x="1896" y="1356"/>
                </a:lnTo>
                <a:lnTo>
                  <a:pt x="1902" y="1362"/>
                </a:lnTo>
                <a:lnTo>
                  <a:pt x="1908" y="1368"/>
                </a:lnTo>
                <a:lnTo>
                  <a:pt x="1908" y="1380"/>
                </a:lnTo>
                <a:lnTo>
                  <a:pt x="1914" y="1404"/>
                </a:lnTo>
                <a:lnTo>
                  <a:pt x="1908" y="1404"/>
                </a:lnTo>
                <a:lnTo>
                  <a:pt x="1902" y="1404"/>
                </a:lnTo>
                <a:lnTo>
                  <a:pt x="1890" y="1410"/>
                </a:lnTo>
                <a:lnTo>
                  <a:pt x="1884" y="1392"/>
                </a:lnTo>
                <a:lnTo>
                  <a:pt x="1872" y="1380"/>
                </a:lnTo>
                <a:lnTo>
                  <a:pt x="1866" y="1380"/>
                </a:lnTo>
                <a:lnTo>
                  <a:pt x="1860" y="1374"/>
                </a:lnTo>
                <a:lnTo>
                  <a:pt x="1860" y="1368"/>
                </a:lnTo>
                <a:lnTo>
                  <a:pt x="1860" y="1356"/>
                </a:lnTo>
                <a:lnTo>
                  <a:pt x="1860" y="1344"/>
                </a:lnTo>
                <a:lnTo>
                  <a:pt x="1854" y="1344"/>
                </a:lnTo>
                <a:lnTo>
                  <a:pt x="1842" y="1344"/>
                </a:lnTo>
                <a:lnTo>
                  <a:pt x="1848" y="1332"/>
                </a:lnTo>
                <a:lnTo>
                  <a:pt x="1842" y="1314"/>
                </a:lnTo>
                <a:lnTo>
                  <a:pt x="1824" y="1326"/>
                </a:lnTo>
                <a:lnTo>
                  <a:pt x="1818" y="1320"/>
                </a:lnTo>
                <a:lnTo>
                  <a:pt x="1812" y="1308"/>
                </a:lnTo>
                <a:lnTo>
                  <a:pt x="1818" y="1302"/>
                </a:lnTo>
                <a:lnTo>
                  <a:pt x="1818" y="1296"/>
                </a:lnTo>
                <a:lnTo>
                  <a:pt x="1812" y="1284"/>
                </a:lnTo>
                <a:lnTo>
                  <a:pt x="1818" y="1278"/>
                </a:lnTo>
                <a:lnTo>
                  <a:pt x="1818" y="1266"/>
                </a:lnTo>
                <a:lnTo>
                  <a:pt x="1818" y="1260"/>
                </a:lnTo>
                <a:lnTo>
                  <a:pt x="1836" y="1248"/>
                </a:lnTo>
                <a:lnTo>
                  <a:pt x="1860" y="1218"/>
                </a:lnTo>
                <a:lnTo>
                  <a:pt x="1860" y="1206"/>
                </a:lnTo>
                <a:lnTo>
                  <a:pt x="1884" y="1218"/>
                </a:lnTo>
                <a:lnTo>
                  <a:pt x="1896" y="1200"/>
                </a:lnTo>
                <a:lnTo>
                  <a:pt x="1878" y="1176"/>
                </a:lnTo>
                <a:lnTo>
                  <a:pt x="1890" y="1158"/>
                </a:lnTo>
                <a:lnTo>
                  <a:pt x="1890" y="1152"/>
                </a:lnTo>
                <a:lnTo>
                  <a:pt x="1884" y="1140"/>
                </a:lnTo>
                <a:lnTo>
                  <a:pt x="1872" y="1116"/>
                </a:lnTo>
                <a:lnTo>
                  <a:pt x="1854" y="1092"/>
                </a:lnTo>
                <a:lnTo>
                  <a:pt x="1854" y="1086"/>
                </a:lnTo>
                <a:lnTo>
                  <a:pt x="1848" y="1080"/>
                </a:lnTo>
                <a:lnTo>
                  <a:pt x="1848" y="1068"/>
                </a:lnTo>
                <a:lnTo>
                  <a:pt x="1842" y="1062"/>
                </a:lnTo>
                <a:lnTo>
                  <a:pt x="1836" y="1044"/>
                </a:lnTo>
                <a:lnTo>
                  <a:pt x="1836" y="1038"/>
                </a:lnTo>
                <a:lnTo>
                  <a:pt x="1824" y="1032"/>
                </a:lnTo>
                <a:lnTo>
                  <a:pt x="1818" y="1020"/>
                </a:lnTo>
                <a:lnTo>
                  <a:pt x="1812" y="1068"/>
                </a:lnTo>
                <a:lnTo>
                  <a:pt x="1812" y="1074"/>
                </a:lnTo>
                <a:lnTo>
                  <a:pt x="1800" y="1068"/>
                </a:lnTo>
                <a:lnTo>
                  <a:pt x="1788" y="1068"/>
                </a:lnTo>
                <a:lnTo>
                  <a:pt x="1776" y="1074"/>
                </a:lnTo>
                <a:lnTo>
                  <a:pt x="1776" y="1056"/>
                </a:lnTo>
                <a:lnTo>
                  <a:pt x="1776" y="1044"/>
                </a:lnTo>
                <a:lnTo>
                  <a:pt x="1764" y="1044"/>
                </a:lnTo>
                <a:lnTo>
                  <a:pt x="1752" y="1050"/>
                </a:lnTo>
                <a:lnTo>
                  <a:pt x="1740" y="1044"/>
                </a:lnTo>
                <a:lnTo>
                  <a:pt x="1722" y="1044"/>
                </a:lnTo>
                <a:lnTo>
                  <a:pt x="1722" y="1050"/>
                </a:lnTo>
                <a:lnTo>
                  <a:pt x="1722" y="1062"/>
                </a:lnTo>
                <a:lnTo>
                  <a:pt x="1722" y="1068"/>
                </a:lnTo>
                <a:lnTo>
                  <a:pt x="1722" y="1074"/>
                </a:lnTo>
                <a:lnTo>
                  <a:pt x="1710" y="1080"/>
                </a:lnTo>
                <a:lnTo>
                  <a:pt x="1698" y="1086"/>
                </a:lnTo>
                <a:lnTo>
                  <a:pt x="1692" y="1086"/>
                </a:lnTo>
                <a:lnTo>
                  <a:pt x="1686" y="1080"/>
                </a:lnTo>
                <a:lnTo>
                  <a:pt x="1674" y="1074"/>
                </a:lnTo>
                <a:lnTo>
                  <a:pt x="1656" y="1062"/>
                </a:lnTo>
                <a:lnTo>
                  <a:pt x="1650" y="1068"/>
                </a:lnTo>
                <a:lnTo>
                  <a:pt x="1638" y="1074"/>
                </a:lnTo>
                <a:lnTo>
                  <a:pt x="1632" y="1068"/>
                </a:lnTo>
                <a:lnTo>
                  <a:pt x="1620" y="1074"/>
                </a:lnTo>
                <a:lnTo>
                  <a:pt x="1608" y="1092"/>
                </a:lnTo>
                <a:lnTo>
                  <a:pt x="1614" y="1092"/>
                </a:lnTo>
                <a:lnTo>
                  <a:pt x="1614" y="1104"/>
                </a:lnTo>
                <a:lnTo>
                  <a:pt x="1596" y="1116"/>
                </a:lnTo>
                <a:lnTo>
                  <a:pt x="1590" y="1104"/>
                </a:lnTo>
                <a:lnTo>
                  <a:pt x="1584" y="1104"/>
                </a:lnTo>
                <a:lnTo>
                  <a:pt x="1572" y="1092"/>
                </a:lnTo>
                <a:lnTo>
                  <a:pt x="1554" y="1092"/>
                </a:lnTo>
                <a:lnTo>
                  <a:pt x="1542" y="1080"/>
                </a:lnTo>
                <a:lnTo>
                  <a:pt x="1524" y="1092"/>
                </a:lnTo>
                <a:lnTo>
                  <a:pt x="1512" y="1116"/>
                </a:lnTo>
                <a:lnTo>
                  <a:pt x="1530" y="1122"/>
                </a:lnTo>
                <a:lnTo>
                  <a:pt x="1524" y="1128"/>
                </a:lnTo>
                <a:lnTo>
                  <a:pt x="1506" y="1140"/>
                </a:lnTo>
                <a:lnTo>
                  <a:pt x="1500" y="1134"/>
                </a:lnTo>
                <a:lnTo>
                  <a:pt x="1494" y="1158"/>
                </a:lnTo>
                <a:lnTo>
                  <a:pt x="1488" y="1158"/>
                </a:lnTo>
                <a:lnTo>
                  <a:pt x="1482" y="1164"/>
                </a:lnTo>
                <a:lnTo>
                  <a:pt x="1464" y="1164"/>
                </a:lnTo>
                <a:lnTo>
                  <a:pt x="1446" y="1164"/>
                </a:lnTo>
                <a:lnTo>
                  <a:pt x="1434" y="1170"/>
                </a:lnTo>
                <a:lnTo>
                  <a:pt x="1422" y="1158"/>
                </a:lnTo>
                <a:lnTo>
                  <a:pt x="1422" y="1152"/>
                </a:lnTo>
                <a:lnTo>
                  <a:pt x="1428" y="1140"/>
                </a:lnTo>
                <a:lnTo>
                  <a:pt x="1422" y="1134"/>
                </a:lnTo>
                <a:lnTo>
                  <a:pt x="1404" y="1128"/>
                </a:lnTo>
                <a:lnTo>
                  <a:pt x="1398" y="1116"/>
                </a:lnTo>
                <a:lnTo>
                  <a:pt x="1392" y="1098"/>
                </a:lnTo>
                <a:lnTo>
                  <a:pt x="1380" y="1092"/>
                </a:lnTo>
                <a:lnTo>
                  <a:pt x="1368" y="1092"/>
                </a:lnTo>
                <a:lnTo>
                  <a:pt x="1374" y="1080"/>
                </a:lnTo>
                <a:lnTo>
                  <a:pt x="1374" y="1062"/>
                </a:lnTo>
                <a:lnTo>
                  <a:pt x="1362" y="1062"/>
                </a:lnTo>
                <a:lnTo>
                  <a:pt x="1356" y="1074"/>
                </a:lnTo>
                <a:lnTo>
                  <a:pt x="1344" y="1068"/>
                </a:lnTo>
                <a:lnTo>
                  <a:pt x="1338" y="1074"/>
                </a:lnTo>
                <a:lnTo>
                  <a:pt x="1344" y="1086"/>
                </a:lnTo>
                <a:lnTo>
                  <a:pt x="1332" y="1092"/>
                </a:lnTo>
                <a:lnTo>
                  <a:pt x="1326" y="1104"/>
                </a:lnTo>
                <a:lnTo>
                  <a:pt x="1320" y="1116"/>
                </a:lnTo>
                <a:lnTo>
                  <a:pt x="1314" y="1122"/>
                </a:lnTo>
                <a:lnTo>
                  <a:pt x="1302" y="1128"/>
                </a:lnTo>
                <a:lnTo>
                  <a:pt x="1296" y="1128"/>
                </a:lnTo>
                <a:lnTo>
                  <a:pt x="1278" y="1128"/>
                </a:lnTo>
                <a:lnTo>
                  <a:pt x="1260" y="1128"/>
                </a:lnTo>
                <a:lnTo>
                  <a:pt x="1266" y="1140"/>
                </a:lnTo>
                <a:lnTo>
                  <a:pt x="1272" y="1140"/>
                </a:lnTo>
                <a:lnTo>
                  <a:pt x="1260" y="1140"/>
                </a:lnTo>
                <a:lnTo>
                  <a:pt x="1254" y="1140"/>
                </a:lnTo>
                <a:lnTo>
                  <a:pt x="1242" y="1152"/>
                </a:lnTo>
                <a:lnTo>
                  <a:pt x="1230" y="1158"/>
                </a:lnTo>
                <a:lnTo>
                  <a:pt x="1206" y="1164"/>
                </a:lnTo>
                <a:lnTo>
                  <a:pt x="1182" y="1164"/>
                </a:lnTo>
                <a:lnTo>
                  <a:pt x="1170" y="1164"/>
                </a:lnTo>
                <a:lnTo>
                  <a:pt x="1140" y="1164"/>
                </a:lnTo>
                <a:lnTo>
                  <a:pt x="1134" y="1158"/>
                </a:lnTo>
                <a:lnTo>
                  <a:pt x="1128" y="1164"/>
                </a:lnTo>
                <a:lnTo>
                  <a:pt x="1116" y="1164"/>
                </a:lnTo>
                <a:lnTo>
                  <a:pt x="1110" y="1164"/>
                </a:lnTo>
                <a:lnTo>
                  <a:pt x="1110" y="1158"/>
                </a:lnTo>
                <a:lnTo>
                  <a:pt x="1104" y="1152"/>
                </a:lnTo>
                <a:lnTo>
                  <a:pt x="1098" y="1152"/>
                </a:lnTo>
                <a:lnTo>
                  <a:pt x="1098" y="1158"/>
                </a:lnTo>
                <a:lnTo>
                  <a:pt x="1092" y="1164"/>
                </a:lnTo>
                <a:lnTo>
                  <a:pt x="1086" y="1164"/>
                </a:lnTo>
                <a:lnTo>
                  <a:pt x="1080" y="1164"/>
                </a:lnTo>
                <a:lnTo>
                  <a:pt x="1062" y="1164"/>
                </a:lnTo>
                <a:lnTo>
                  <a:pt x="1044" y="1170"/>
                </a:lnTo>
                <a:lnTo>
                  <a:pt x="1038" y="1170"/>
                </a:lnTo>
                <a:lnTo>
                  <a:pt x="1032" y="1170"/>
                </a:lnTo>
                <a:lnTo>
                  <a:pt x="1026" y="1176"/>
                </a:lnTo>
                <a:lnTo>
                  <a:pt x="1020" y="1182"/>
                </a:lnTo>
                <a:lnTo>
                  <a:pt x="1014" y="1188"/>
                </a:lnTo>
                <a:lnTo>
                  <a:pt x="1020" y="1200"/>
                </a:lnTo>
                <a:lnTo>
                  <a:pt x="1008" y="1206"/>
                </a:lnTo>
                <a:lnTo>
                  <a:pt x="996" y="1206"/>
                </a:lnTo>
                <a:lnTo>
                  <a:pt x="972" y="1224"/>
                </a:lnTo>
                <a:lnTo>
                  <a:pt x="966" y="1224"/>
                </a:lnTo>
                <a:lnTo>
                  <a:pt x="960" y="1230"/>
                </a:lnTo>
                <a:lnTo>
                  <a:pt x="918" y="1242"/>
                </a:lnTo>
                <a:lnTo>
                  <a:pt x="912" y="1248"/>
                </a:lnTo>
                <a:lnTo>
                  <a:pt x="912" y="1230"/>
                </a:lnTo>
                <a:lnTo>
                  <a:pt x="912" y="1212"/>
                </a:lnTo>
                <a:lnTo>
                  <a:pt x="918" y="1206"/>
                </a:lnTo>
                <a:lnTo>
                  <a:pt x="918" y="1200"/>
                </a:lnTo>
                <a:lnTo>
                  <a:pt x="924" y="1194"/>
                </a:lnTo>
                <a:lnTo>
                  <a:pt x="942" y="1182"/>
                </a:lnTo>
                <a:lnTo>
                  <a:pt x="930" y="1164"/>
                </a:lnTo>
                <a:lnTo>
                  <a:pt x="930" y="1158"/>
                </a:lnTo>
                <a:lnTo>
                  <a:pt x="924" y="1164"/>
                </a:lnTo>
                <a:lnTo>
                  <a:pt x="906" y="1176"/>
                </a:lnTo>
                <a:lnTo>
                  <a:pt x="894" y="1164"/>
                </a:lnTo>
                <a:lnTo>
                  <a:pt x="894" y="1158"/>
                </a:lnTo>
                <a:lnTo>
                  <a:pt x="888" y="1158"/>
                </a:lnTo>
                <a:lnTo>
                  <a:pt x="888" y="1146"/>
                </a:lnTo>
                <a:lnTo>
                  <a:pt x="876" y="1158"/>
                </a:lnTo>
                <a:lnTo>
                  <a:pt x="864" y="1176"/>
                </a:lnTo>
                <a:lnTo>
                  <a:pt x="846" y="1200"/>
                </a:lnTo>
                <a:lnTo>
                  <a:pt x="840" y="1200"/>
                </a:lnTo>
                <a:lnTo>
                  <a:pt x="828" y="1206"/>
                </a:lnTo>
                <a:lnTo>
                  <a:pt x="822" y="1212"/>
                </a:lnTo>
                <a:lnTo>
                  <a:pt x="816" y="1212"/>
                </a:lnTo>
                <a:lnTo>
                  <a:pt x="810" y="1218"/>
                </a:lnTo>
                <a:lnTo>
                  <a:pt x="798" y="1224"/>
                </a:lnTo>
                <a:lnTo>
                  <a:pt x="792" y="1230"/>
                </a:lnTo>
                <a:lnTo>
                  <a:pt x="780" y="1242"/>
                </a:lnTo>
                <a:lnTo>
                  <a:pt x="780" y="1260"/>
                </a:lnTo>
                <a:lnTo>
                  <a:pt x="774" y="1266"/>
                </a:lnTo>
                <a:lnTo>
                  <a:pt x="768" y="1266"/>
                </a:lnTo>
                <a:lnTo>
                  <a:pt x="762" y="1260"/>
                </a:lnTo>
                <a:lnTo>
                  <a:pt x="750" y="1254"/>
                </a:lnTo>
                <a:lnTo>
                  <a:pt x="732" y="1248"/>
                </a:lnTo>
                <a:lnTo>
                  <a:pt x="726" y="1248"/>
                </a:lnTo>
                <a:lnTo>
                  <a:pt x="702" y="1248"/>
                </a:lnTo>
                <a:lnTo>
                  <a:pt x="696" y="1254"/>
                </a:lnTo>
                <a:lnTo>
                  <a:pt x="690" y="1260"/>
                </a:lnTo>
                <a:lnTo>
                  <a:pt x="684" y="1254"/>
                </a:lnTo>
                <a:lnTo>
                  <a:pt x="672" y="1242"/>
                </a:lnTo>
                <a:lnTo>
                  <a:pt x="660" y="1242"/>
                </a:lnTo>
                <a:lnTo>
                  <a:pt x="654" y="1212"/>
                </a:lnTo>
                <a:lnTo>
                  <a:pt x="648" y="1212"/>
                </a:lnTo>
                <a:lnTo>
                  <a:pt x="642" y="1206"/>
                </a:lnTo>
                <a:lnTo>
                  <a:pt x="630" y="1188"/>
                </a:lnTo>
                <a:lnTo>
                  <a:pt x="624" y="1194"/>
                </a:lnTo>
                <a:lnTo>
                  <a:pt x="606" y="1212"/>
                </a:lnTo>
                <a:lnTo>
                  <a:pt x="588" y="1218"/>
                </a:lnTo>
                <a:lnTo>
                  <a:pt x="570" y="1212"/>
                </a:lnTo>
                <a:lnTo>
                  <a:pt x="564" y="1218"/>
                </a:lnTo>
                <a:lnTo>
                  <a:pt x="558" y="1224"/>
                </a:lnTo>
                <a:lnTo>
                  <a:pt x="546" y="1218"/>
                </a:lnTo>
                <a:lnTo>
                  <a:pt x="534" y="1224"/>
                </a:lnTo>
                <a:lnTo>
                  <a:pt x="516" y="1242"/>
                </a:lnTo>
                <a:lnTo>
                  <a:pt x="498" y="1236"/>
                </a:lnTo>
                <a:lnTo>
                  <a:pt x="468" y="1260"/>
                </a:lnTo>
                <a:lnTo>
                  <a:pt x="468" y="1266"/>
                </a:lnTo>
                <a:lnTo>
                  <a:pt x="462" y="1278"/>
                </a:lnTo>
                <a:lnTo>
                  <a:pt x="450" y="1266"/>
                </a:lnTo>
                <a:lnTo>
                  <a:pt x="444" y="1272"/>
                </a:lnTo>
                <a:lnTo>
                  <a:pt x="432" y="1284"/>
                </a:lnTo>
                <a:lnTo>
                  <a:pt x="420" y="1266"/>
                </a:lnTo>
                <a:lnTo>
                  <a:pt x="402" y="1260"/>
                </a:lnTo>
                <a:lnTo>
                  <a:pt x="396" y="1248"/>
                </a:lnTo>
                <a:lnTo>
                  <a:pt x="384" y="1242"/>
                </a:lnTo>
                <a:lnTo>
                  <a:pt x="378" y="1242"/>
                </a:lnTo>
                <a:lnTo>
                  <a:pt x="372" y="1230"/>
                </a:lnTo>
                <a:lnTo>
                  <a:pt x="366" y="1224"/>
                </a:lnTo>
                <a:lnTo>
                  <a:pt x="354" y="1212"/>
                </a:lnTo>
                <a:lnTo>
                  <a:pt x="348" y="1206"/>
                </a:lnTo>
                <a:lnTo>
                  <a:pt x="342" y="1206"/>
                </a:lnTo>
                <a:lnTo>
                  <a:pt x="342" y="1200"/>
                </a:lnTo>
                <a:lnTo>
                  <a:pt x="348" y="1200"/>
                </a:lnTo>
                <a:lnTo>
                  <a:pt x="360" y="1194"/>
                </a:lnTo>
                <a:lnTo>
                  <a:pt x="354" y="1182"/>
                </a:lnTo>
                <a:lnTo>
                  <a:pt x="360" y="1170"/>
                </a:lnTo>
                <a:lnTo>
                  <a:pt x="366" y="1152"/>
                </a:lnTo>
                <a:lnTo>
                  <a:pt x="360" y="1146"/>
                </a:lnTo>
                <a:lnTo>
                  <a:pt x="354" y="1140"/>
                </a:lnTo>
                <a:lnTo>
                  <a:pt x="348" y="1128"/>
                </a:lnTo>
                <a:lnTo>
                  <a:pt x="348" y="1122"/>
                </a:lnTo>
                <a:lnTo>
                  <a:pt x="336" y="1104"/>
                </a:lnTo>
                <a:lnTo>
                  <a:pt x="348" y="1092"/>
                </a:lnTo>
                <a:lnTo>
                  <a:pt x="354" y="1086"/>
                </a:lnTo>
                <a:lnTo>
                  <a:pt x="360" y="1098"/>
                </a:lnTo>
                <a:lnTo>
                  <a:pt x="390" y="1080"/>
                </a:lnTo>
                <a:lnTo>
                  <a:pt x="390" y="1068"/>
                </a:lnTo>
                <a:lnTo>
                  <a:pt x="408" y="1050"/>
                </a:lnTo>
                <a:lnTo>
                  <a:pt x="402" y="1032"/>
                </a:lnTo>
                <a:lnTo>
                  <a:pt x="414" y="1020"/>
                </a:lnTo>
                <a:lnTo>
                  <a:pt x="408" y="1014"/>
                </a:lnTo>
                <a:lnTo>
                  <a:pt x="402" y="1014"/>
                </a:lnTo>
                <a:lnTo>
                  <a:pt x="396" y="1008"/>
                </a:lnTo>
                <a:lnTo>
                  <a:pt x="390" y="1008"/>
                </a:lnTo>
                <a:lnTo>
                  <a:pt x="384" y="996"/>
                </a:lnTo>
                <a:lnTo>
                  <a:pt x="378" y="990"/>
                </a:lnTo>
                <a:lnTo>
                  <a:pt x="378" y="984"/>
                </a:lnTo>
                <a:lnTo>
                  <a:pt x="372" y="978"/>
                </a:lnTo>
                <a:lnTo>
                  <a:pt x="360" y="984"/>
                </a:lnTo>
                <a:lnTo>
                  <a:pt x="354" y="984"/>
                </a:lnTo>
                <a:lnTo>
                  <a:pt x="342" y="966"/>
                </a:lnTo>
                <a:lnTo>
                  <a:pt x="348" y="960"/>
                </a:lnTo>
                <a:lnTo>
                  <a:pt x="348" y="954"/>
                </a:lnTo>
                <a:lnTo>
                  <a:pt x="354" y="948"/>
                </a:lnTo>
                <a:lnTo>
                  <a:pt x="354" y="942"/>
                </a:lnTo>
                <a:lnTo>
                  <a:pt x="348" y="930"/>
                </a:lnTo>
                <a:lnTo>
                  <a:pt x="342" y="918"/>
                </a:lnTo>
                <a:lnTo>
                  <a:pt x="342" y="912"/>
                </a:lnTo>
                <a:lnTo>
                  <a:pt x="348" y="894"/>
                </a:lnTo>
                <a:lnTo>
                  <a:pt x="342" y="894"/>
                </a:lnTo>
                <a:lnTo>
                  <a:pt x="330" y="894"/>
                </a:lnTo>
                <a:lnTo>
                  <a:pt x="318" y="864"/>
                </a:lnTo>
                <a:lnTo>
                  <a:pt x="294" y="858"/>
                </a:lnTo>
                <a:lnTo>
                  <a:pt x="294" y="852"/>
                </a:lnTo>
                <a:lnTo>
                  <a:pt x="288" y="852"/>
                </a:lnTo>
                <a:lnTo>
                  <a:pt x="282" y="852"/>
                </a:lnTo>
                <a:lnTo>
                  <a:pt x="282" y="858"/>
                </a:lnTo>
                <a:lnTo>
                  <a:pt x="270" y="858"/>
                </a:lnTo>
                <a:lnTo>
                  <a:pt x="264" y="870"/>
                </a:lnTo>
                <a:lnTo>
                  <a:pt x="246" y="876"/>
                </a:lnTo>
                <a:lnTo>
                  <a:pt x="240" y="882"/>
                </a:lnTo>
                <a:lnTo>
                  <a:pt x="234" y="882"/>
                </a:lnTo>
                <a:lnTo>
                  <a:pt x="228" y="882"/>
                </a:lnTo>
                <a:lnTo>
                  <a:pt x="210" y="876"/>
                </a:lnTo>
                <a:lnTo>
                  <a:pt x="204" y="870"/>
                </a:lnTo>
                <a:lnTo>
                  <a:pt x="198" y="870"/>
                </a:lnTo>
                <a:lnTo>
                  <a:pt x="192" y="864"/>
                </a:lnTo>
                <a:lnTo>
                  <a:pt x="180" y="858"/>
                </a:lnTo>
                <a:lnTo>
                  <a:pt x="174" y="852"/>
                </a:lnTo>
                <a:lnTo>
                  <a:pt x="168" y="846"/>
                </a:lnTo>
                <a:lnTo>
                  <a:pt x="150" y="840"/>
                </a:lnTo>
                <a:lnTo>
                  <a:pt x="138" y="840"/>
                </a:lnTo>
                <a:lnTo>
                  <a:pt x="126" y="834"/>
                </a:lnTo>
                <a:lnTo>
                  <a:pt x="120" y="846"/>
                </a:lnTo>
                <a:lnTo>
                  <a:pt x="114" y="846"/>
                </a:lnTo>
                <a:lnTo>
                  <a:pt x="108" y="846"/>
                </a:lnTo>
                <a:lnTo>
                  <a:pt x="102" y="846"/>
                </a:lnTo>
                <a:lnTo>
                  <a:pt x="102" y="840"/>
                </a:lnTo>
                <a:lnTo>
                  <a:pt x="90" y="846"/>
                </a:lnTo>
                <a:lnTo>
                  <a:pt x="90" y="840"/>
                </a:lnTo>
                <a:lnTo>
                  <a:pt x="84" y="834"/>
                </a:lnTo>
                <a:lnTo>
                  <a:pt x="84" y="828"/>
                </a:lnTo>
                <a:lnTo>
                  <a:pt x="78" y="828"/>
                </a:lnTo>
                <a:lnTo>
                  <a:pt x="72" y="828"/>
                </a:lnTo>
                <a:lnTo>
                  <a:pt x="66" y="828"/>
                </a:lnTo>
                <a:lnTo>
                  <a:pt x="60" y="828"/>
                </a:lnTo>
                <a:lnTo>
                  <a:pt x="54" y="828"/>
                </a:lnTo>
                <a:lnTo>
                  <a:pt x="48" y="828"/>
                </a:lnTo>
                <a:lnTo>
                  <a:pt x="42" y="822"/>
                </a:lnTo>
                <a:lnTo>
                  <a:pt x="24" y="822"/>
                </a:lnTo>
                <a:lnTo>
                  <a:pt x="24" y="816"/>
                </a:lnTo>
                <a:lnTo>
                  <a:pt x="18" y="816"/>
                </a:lnTo>
                <a:lnTo>
                  <a:pt x="12" y="816"/>
                </a:lnTo>
                <a:lnTo>
                  <a:pt x="0" y="810"/>
                </a:lnTo>
                <a:lnTo>
                  <a:pt x="0" y="804"/>
                </a:lnTo>
                <a:lnTo>
                  <a:pt x="12" y="798"/>
                </a:lnTo>
                <a:lnTo>
                  <a:pt x="24" y="786"/>
                </a:lnTo>
                <a:lnTo>
                  <a:pt x="30" y="786"/>
                </a:lnTo>
                <a:lnTo>
                  <a:pt x="24" y="780"/>
                </a:lnTo>
                <a:lnTo>
                  <a:pt x="24" y="774"/>
                </a:lnTo>
                <a:lnTo>
                  <a:pt x="30" y="774"/>
                </a:lnTo>
                <a:lnTo>
                  <a:pt x="30" y="768"/>
                </a:lnTo>
                <a:lnTo>
                  <a:pt x="30" y="756"/>
                </a:lnTo>
                <a:lnTo>
                  <a:pt x="30" y="750"/>
                </a:lnTo>
                <a:lnTo>
                  <a:pt x="30" y="744"/>
                </a:lnTo>
                <a:lnTo>
                  <a:pt x="36" y="738"/>
                </a:lnTo>
                <a:lnTo>
                  <a:pt x="48" y="756"/>
                </a:lnTo>
                <a:lnTo>
                  <a:pt x="48" y="768"/>
                </a:lnTo>
                <a:lnTo>
                  <a:pt x="60" y="768"/>
                </a:lnTo>
                <a:lnTo>
                  <a:pt x="72" y="768"/>
                </a:lnTo>
                <a:lnTo>
                  <a:pt x="72" y="750"/>
                </a:lnTo>
                <a:lnTo>
                  <a:pt x="78" y="750"/>
                </a:lnTo>
                <a:lnTo>
                  <a:pt x="84" y="744"/>
                </a:lnTo>
                <a:lnTo>
                  <a:pt x="78" y="738"/>
                </a:lnTo>
                <a:lnTo>
                  <a:pt x="84" y="732"/>
                </a:lnTo>
                <a:lnTo>
                  <a:pt x="90" y="732"/>
                </a:lnTo>
                <a:lnTo>
                  <a:pt x="96" y="720"/>
                </a:lnTo>
                <a:lnTo>
                  <a:pt x="102" y="720"/>
                </a:lnTo>
                <a:lnTo>
                  <a:pt x="108" y="720"/>
                </a:lnTo>
                <a:lnTo>
                  <a:pt x="114" y="714"/>
                </a:lnTo>
                <a:lnTo>
                  <a:pt x="120" y="714"/>
                </a:lnTo>
                <a:lnTo>
                  <a:pt x="126" y="702"/>
                </a:lnTo>
                <a:lnTo>
                  <a:pt x="132" y="702"/>
                </a:lnTo>
                <a:lnTo>
                  <a:pt x="150" y="696"/>
                </a:lnTo>
                <a:lnTo>
                  <a:pt x="156" y="696"/>
                </a:lnTo>
                <a:lnTo>
                  <a:pt x="156" y="690"/>
                </a:lnTo>
                <a:lnTo>
                  <a:pt x="156" y="684"/>
                </a:lnTo>
                <a:lnTo>
                  <a:pt x="162" y="678"/>
                </a:lnTo>
                <a:lnTo>
                  <a:pt x="144" y="648"/>
                </a:lnTo>
                <a:lnTo>
                  <a:pt x="144" y="642"/>
                </a:lnTo>
                <a:lnTo>
                  <a:pt x="150" y="642"/>
                </a:lnTo>
                <a:lnTo>
                  <a:pt x="156" y="636"/>
                </a:lnTo>
                <a:lnTo>
                  <a:pt x="156" y="630"/>
                </a:lnTo>
                <a:lnTo>
                  <a:pt x="150" y="624"/>
                </a:lnTo>
                <a:lnTo>
                  <a:pt x="156" y="618"/>
                </a:lnTo>
                <a:lnTo>
                  <a:pt x="180" y="618"/>
                </a:lnTo>
                <a:lnTo>
                  <a:pt x="186" y="618"/>
                </a:lnTo>
                <a:lnTo>
                  <a:pt x="198" y="612"/>
                </a:lnTo>
                <a:lnTo>
                  <a:pt x="204" y="606"/>
                </a:lnTo>
                <a:lnTo>
                  <a:pt x="210" y="600"/>
                </a:lnTo>
                <a:lnTo>
                  <a:pt x="222" y="606"/>
                </a:lnTo>
                <a:lnTo>
                  <a:pt x="234" y="594"/>
                </a:lnTo>
                <a:lnTo>
                  <a:pt x="252" y="600"/>
                </a:lnTo>
                <a:lnTo>
                  <a:pt x="258" y="600"/>
                </a:lnTo>
                <a:lnTo>
                  <a:pt x="270" y="594"/>
                </a:lnTo>
                <a:lnTo>
                  <a:pt x="276" y="606"/>
                </a:lnTo>
                <a:lnTo>
                  <a:pt x="276" y="612"/>
                </a:lnTo>
                <a:lnTo>
                  <a:pt x="282" y="618"/>
                </a:lnTo>
                <a:lnTo>
                  <a:pt x="288" y="624"/>
                </a:lnTo>
                <a:lnTo>
                  <a:pt x="300" y="624"/>
                </a:lnTo>
                <a:lnTo>
                  <a:pt x="318" y="630"/>
                </a:lnTo>
                <a:lnTo>
                  <a:pt x="336" y="630"/>
                </a:lnTo>
                <a:lnTo>
                  <a:pt x="342" y="630"/>
                </a:lnTo>
                <a:lnTo>
                  <a:pt x="360" y="630"/>
                </a:lnTo>
                <a:lnTo>
                  <a:pt x="372" y="630"/>
                </a:lnTo>
                <a:lnTo>
                  <a:pt x="378" y="630"/>
                </a:lnTo>
                <a:lnTo>
                  <a:pt x="384" y="630"/>
                </a:lnTo>
                <a:lnTo>
                  <a:pt x="384" y="636"/>
                </a:lnTo>
                <a:lnTo>
                  <a:pt x="390" y="654"/>
                </a:lnTo>
                <a:lnTo>
                  <a:pt x="402" y="678"/>
                </a:lnTo>
                <a:lnTo>
                  <a:pt x="402" y="684"/>
                </a:lnTo>
                <a:lnTo>
                  <a:pt x="408" y="696"/>
                </a:lnTo>
                <a:lnTo>
                  <a:pt x="414" y="696"/>
                </a:lnTo>
                <a:lnTo>
                  <a:pt x="420" y="708"/>
                </a:lnTo>
                <a:lnTo>
                  <a:pt x="426" y="720"/>
                </a:lnTo>
                <a:lnTo>
                  <a:pt x="432" y="732"/>
                </a:lnTo>
                <a:lnTo>
                  <a:pt x="438" y="732"/>
                </a:lnTo>
                <a:lnTo>
                  <a:pt x="444" y="732"/>
                </a:lnTo>
                <a:lnTo>
                  <a:pt x="450" y="732"/>
                </a:lnTo>
                <a:lnTo>
                  <a:pt x="522" y="726"/>
                </a:lnTo>
                <a:lnTo>
                  <a:pt x="540" y="720"/>
                </a:lnTo>
                <a:lnTo>
                  <a:pt x="552" y="678"/>
                </a:lnTo>
                <a:lnTo>
                  <a:pt x="570" y="660"/>
                </a:lnTo>
                <a:lnTo>
                  <a:pt x="582" y="642"/>
                </a:lnTo>
                <a:lnTo>
                  <a:pt x="588" y="642"/>
                </a:lnTo>
                <a:lnTo>
                  <a:pt x="594" y="702"/>
                </a:lnTo>
                <a:lnTo>
                  <a:pt x="600" y="702"/>
                </a:lnTo>
                <a:lnTo>
                  <a:pt x="612" y="702"/>
                </a:lnTo>
                <a:lnTo>
                  <a:pt x="648" y="702"/>
                </a:lnTo>
                <a:lnTo>
                  <a:pt x="666" y="696"/>
                </a:lnTo>
                <a:lnTo>
                  <a:pt x="714" y="684"/>
                </a:lnTo>
                <a:lnTo>
                  <a:pt x="768" y="666"/>
                </a:lnTo>
                <a:lnTo>
                  <a:pt x="774" y="666"/>
                </a:lnTo>
                <a:lnTo>
                  <a:pt x="816" y="654"/>
                </a:lnTo>
                <a:lnTo>
                  <a:pt x="858" y="642"/>
                </a:lnTo>
                <a:lnTo>
                  <a:pt x="870" y="642"/>
                </a:lnTo>
                <a:lnTo>
                  <a:pt x="888" y="636"/>
                </a:lnTo>
                <a:lnTo>
                  <a:pt x="852" y="600"/>
                </a:lnTo>
                <a:lnTo>
                  <a:pt x="846" y="558"/>
                </a:lnTo>
                <a:lnTo>
                  <a:pt x="846" y="546"/>
                </a:lnTo>
                <a:lnTo>
                  <a:pt x="840" y="522"/>
                </a:lnTo>
                <a:lnTo>
                  <a:pt x="834" y="504"/>
                </a:lnTo>
                <a:lnTo>
                  <a:pt x="828" y="504"/>
                </a:lnTo>
                <a:lnTo>
                  <a:pt x="828" y="486"/>
                </a:lnTo>
                <a:lnTo>
                  <a:pt x="816" y="474"/>
                </a:lnTo>
                <a:lnTo>
                  <a:pt x="816" y="468"/>
                </a:lnTo>
                <a:lnTo>
                  <a:pt x="828" y="456"/>
                </a:lnTo>
                <a:lnTo>
                  <a:pt x="840" y="444"/>
                </a:lnTo>
                <a:lnTo>
                  <a:pt x="846" y="444"/>
                </a:lnTo>
                <a:lnTo>
                  <a:pt x="834" y="432"/>
                </a:lnTo>
                <a:lnTo>
                  <a:pt x="822" y="420"/>
                </a:lnTo>
                <a:lnTo>
                  <a:pt x="822" y="414"/>
                </a:lnTo>
                <a:lnTo>
                  <a:pt x="804" y="408"/>
                </a:lnTo>
                <a:lnTo>
                  <a:pt x="804" y="402"/>
                </a:lnTo>
                <a:lnTo>
                  <a:pt x="798" y="396"/>
                </a:lnTo>
                <a:lnTo>
                  <a:pt x="804" y="384"/>
                </a:lnTo>
                <a:lnTo>
                  <a:pt x="750" y="348"/>
                </a:lnTo>
                <a:lnTo>
                  <a:pt x="756" y="330"/>
                </a:lnTo>
                <a:lnTo>
                  <a:pt x="786" y="330"/>
                </a:lnTo>
                <a:lnTo>
                  <a:pt x="798" y="324"/>
                </a:lnTo>
                <a:lnTo>
                  <a:pt x="798" y="318"/>
                </a:lnTo>
                <a:lnTo>
                  <a:pt x="834" y="306"/>
                </a:lnTo>
                <a:lnTo>
                  <a:pt x="834" y="312"/>
                </a:lnTo>
                <a:lnTo>
                  <a:pt x="846" y="312"/>
                </a:lnTo>
                <a:lnTo>
                  <a:pt x="846" y="300"/>
                </a:lnTo>
                <a:lnTo>
                  <a:pt x="864" y="258"/>
                </a:lnTo>
                <a:lnTo>
                  <a:pt x="852" y="252"/>
                </a:lnTo>
                <a:lnTo>
                  <a:pt x="858" y="234"/>
                </a:lnTo>
                <a:lnTo>
                  <a:pt x="870" y="204"/>
                </a:lnTo>
                <a:lnTo>
                  <a:pt x="840" y="192"/>
                </a:lnTo>
                <a:lnTo>
                  <a:pt x="846" y="180"/>
                </a:lnTo>
                <a:lnTo>
                  <a:pt x="852" y="174"/>
                </a:lnTo>
                <a:lnTo>
                  <a:pt x="870" y="138"/>
                </a:lnTo>
                <a:lnTo>
                  <a:pt x="840" y="126"/>
                </a:lnTo>
                <a:lnTo>
                  <a:pt x="840" y="120"/>
                </a:lnTo>
                <a:lnTo>
                  <a:pt x="858" y="96"/>
                </a:lnTo>
                <a:lnTo>
                  <a:pt x="864" y="90"/>
                </a:lnTo>
                <a:lnTo>
                  <a:pt x="882" y="78"/>
                </a:lnTo>
                <a:lnTo>
                  <a:pt x="888" y="66"/>
                </a:lnTo>
                <a:lnTo>
                  <a:pt x="900" y="54"/>
                </a:lnTo>
                <a:lnTo>
                  <a:pt x="918" y="36"/>
                </a:lnTo>
                <a:lnTo>
                  <a:pt x="930" y="30"/>
                </a:lnTo>
                <a:lnTo>
                  <a:pt x="936" y="30"/>
                </a:lnTo>
                <a:lnTo>
                  <a:pt x="948" y="24"/>
                </a:lnTo>
                <a:lnTo>
                  <a:pt x="948" y="18"/>
                </a:lnTo>
                <a:lnTo>
                  <a:pt x="954" y="18"/>
                </a:lnTo>
                <a:lnTo>
                  <a:pt x="984" y="12"/>
                </a:lnTo>
                <a:lnTo>
                  <a:pt x="1002" y="18"/>
                </a:lnTo>
                <a:lnTo>
                  <a:pt x="1020" y="0"/>
                </a:lnTo>
                <a:lnTo>
                  <a:pt x="1032" y="18"/>
                </a:lnTo>
                <a:lnTo>
                  <a:pt x="1038" y="30"/>
                </a:lnTo>
                <a:lnTo>
                  <a:pt x="1050" y="36"/>
                </a:lnTo>
                <a:lnTo>
                  <a:pt x="1068" y="42"/>
                </a:lnTo>
                <a:lnTo>
                  <a:pt x="1086" y="42"/>
                </a:lnTo>
                <a:lnTo>
                  <a:pt x="1104" y="36"/>
                </a:lnTo>
                <a:lnTo>
                  <a:pt x="1122" y="42"/>
                </a:lnTo>
                <a:lnTo>
                  <a:pt x="1140" y="42"/>
                </a:lnTo>
                <a:lnTo>
                  <a:pt x="1158" y="42"/>
                </a:lnTo>
                <a:lnTo>
                  <a:pt x="1170" y="54"/>
                </a:lnTo>
                <a:lnTo>
                  <a:pt x="1176" y="60"/>
                </a:lnTo>
                <a:lnTo>
                  <a:pt x="1206" y="90"/>
                </a:lnTo>
                <a:lnTo>
                  <a:pt x="1218" y="96"/>
                </a:lnTo>
                <a:lnTo>
                  <a:pt x="1230" y="102"/>
                </a:lnTo>
                <a:lnTo>
                  <a:pt x="1242" y="114"/>
                </a:lnTo>
                <a:lnTo>
                  <a:pt x="1254" y="126"/>
                </a:lnTo>
                <a:lnTo>
                  <a:pt x="1266" y="138"/>
                </a:lnTo>
                <a:lnTo>
                  <a:pt x="1278" y="150"/>
                </a:lnTo>
                <a:lnTo>
                  <a:pt x="1290" y="162"/>
                </a:lnTo>
                <a:lnTo>
                  <a:pt x="1302" y="180"/>
                </a:lnTo>
                <a:lnTo>
                  <a:pt x="1308" y="186"/>
                </a:lnTo>
                <a:lnTo>
                  <a:pt x="1308" y="198"/>
                </a:lnTo>
                <a:lnTo>
                  <a:pt x="1320" y="216"/>
                </a:lnTo>
                <a:lnTo>
                  <a:pt x="1320" y="222"/>
                </a:lnTo>
                <a:lnTo>
                  <a:pt x="1332" y="234"/>
                </a:lnTo>
                <a:lnTo>
                  <a:pt x="1344" y="240"/>
                </a:lnTo>
                <a:lnTo>
                  <a:pt x="1362" y="246"/>
                </a:lnTo>
                <a:lnTo>
                  <a:pt x="1386" y="264"/>
                </a:lnTo>
                <a:lnTo>
                  <a:pt x="1398" y="270"/>
                </a:lnTo>
                <a:lnTo>
                  <a:pt x="1410" y="270"/>
                </a:lnTo>
                <a:lnTo>
                  <a:pt x="1422" y="264"/>
                </a:lnTo>
                <a:lnTo>
                  <a:pt x="1434" y="270"/>
                </a:lnTo>
                <a:lnTo>
                  <a:pt x="1440" y="288"/>
                </a:lnTo>
                <a:lnTo>
                  <a:pt x="1446" y="294"/>
                </a:lnTo>
                <a:lnTo>
                  <a:pt x="1464" y="324"/>
                </a:lnTo>
                <a:lnTo>
                  <a:pt x="1482" y="354"/>
                </a:lnTo>
                <a:lnTo>
                  <a:pt x="1488" y="360"/>
                </a:lnTo>
                <a:lnTo>
                  <a:pt x="1494" y="360"/>
                </a:lnTo>
                <a:lnTo>
                  <a:pt x="1500" y="366"/>
                </a:lnTo>
                <a:lnTo>
                  <a:pt x="1518" y="360"/>
                </a:lnTo>
                <a:lnTo>
                  <a:pt x="1524" y="354"/>
                </a:lnTo>
                <a:lnTo>
                  <a:pt x="1536" y="354"/>
                </a:lnTo>
                <a:lnTo>
                  <a:pt x="1548" y="354"/>
                </a:lnTo>
                <a:lnTo>
                  <a:pt x="1554" y="360"/>
                </a:lnTo>
                <a:lnTo>
                  <a:pt x="1572" y="372"/>
                </a:lnTo>
                <a:lnTo>
                  <a:pt x="1602" y="396"/>
                </a:lnTo>
                <a:lnTo>
                  <a:pt x="1614" y="402"/>
                </a:lnTo>
                <a:lnTo>
                  <a:pt x="1626" y="402"/>
                </a:lnTo>
                <a:lnTo>
                  <a:pt x="1638" y="408"/>
                </a:lnTo>
                <a:lnTo>
                  <a:pt x="1662" y="420"/>
                </a:lnTo>
                <a:lnTo>
                  <a:pt x="1668" y="426"/>
                </a:lnTo>
                <a:lnTo>
                  <a:pt x="1680" y="432"/>
                </a:lnTo>
                <a:lnTo>
                  <a:pt x="1680" y="438"/>
                </a:lnTo>
                <a:lnTo>
                  <a:pt x="1686" y="444"/>
                </a:lnTo>
                <a:lnTo>
                  <a:pt x="1692" y="450"/>
                </a:lnTo>
                <a:lnTo>
                  <a:pt x="1698" y="456"/>
                </a:lnTo>
                <a:lnTo>
                  <a:pt x="1704" y="456"/>
                </a:lnTo>
                <a:lnTo>
                  <a:pt x="1716" y="462"/>
                </a:lnTo>
                <a:lnTo>
                  <a:pt x="1728" y="462"/>
                </a:lnTo>
                <a:lnTo>
                  <a:pt x="1734" y="468"/>
                </a:lnTo>
                <a:lnTo>
                  <a:pt x="1740" y="468"/>
                </a:lnTo>
                <a:lnTo>
                  <a:pt x="1758" y="468"/>
                </a:lnTo>
                <a:lnTo>
                  <a:pt x="1782" y="474"/>
                </a:lnTo>
                <a:lnTo>
                  <a:pt x="1788" y="474"/>
                </a:lnTo>
                <a:lnTo>
                  <a:pt x="1800" y="480"/>
                </a:lnTo>
                <a:lnTo>
                  <a:pt x="1824" y="474"/>
                </a:lnTo>
                <a:lnTo>
                  <a:pt x="1836" y="474"/>
                </a:lnTo>
                <a:lnTo>
                  <a:pt x="1848" y="474"/>
                </a:lnTo>
                <a:lnTo>
                  <a:pt x="1872" y="468"/>
                </a:lnTo>
                <a:lnTo>
                  <a:pt x="1878" y="468"/>
                </a:lnTo>
                <a:lnTo>
                  <a:pt x="1896" y="462"/>
                </a:lnTo>
                <a:lnTo>
                  <a:pt x="1902" y="462"/>
                </a:lnTo>
                <a:lnTo>
                  <a:pt x="1908" y="462"/>
                </a:lnTo>
                <a:lnTo>
                  <a:pt x="1938" y="468"/>
                </a:lnTo>
                <a:lnTo>
                  <a:pt x="1968" y="462"/>
                </a:lnTo>
                <a:lnTo>
                  <a:pt x="1968" y="456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71" name="Freeform 15"/>
          <p:cNvSpPr>
            <a:spLocks/>
          </p:cNvSpPr>
          <p:nvPr/>
        </p:nvSpPr>
        <p:spPr bwMode="gray">
          <a:xfrm>
            <a:off x="1322388" y="3562350"/>
            <a:ext cx="1555750" cy="1408113"/>
          </a:xfrm>
          <a:custGeom>
            <a:avLst/>
            <a:gdLst>
              <a:gd name="T0" fmla="*/ 81055 w 1614"/>
              <a:gd name="T1" fmla="*/ 12243 h 1464"/>
              <a:gd name="T2" fmla="*/ 84329 w 1614"/>
              <a:gd name="T3" fmla="*/ 17141 h 1464"/>
              <a:gd name="T4" fmla="*/ 90879 w 1614"/>
              <a:gd name="T5" fmla="*/ 17957 h 1464"/>
              <a:gd name="T6" fmla="*/ 91698 w 1614"/>
              <a:gd name="T7" fmla="*/ 23671 h 1464"/>
              <a:gd name="T8" fmla="*/ 95792 w 1614"/>
              <a:gd name="T9" fmla="*/ 24487 h 1464"/>
              <a:gd name="T10" fmla="*/ 103160 w 1614"/>
              <a:gd name="T11" fmla="*/ 26119 h 1464"/>
              <a:gd name="T12" fmla="*/ 106435 w 1614"/>
              <a:gd name="T13" fmla="*/ 30200 h 1464"/>
              <a:gd name="T14" fmla="*/ 109710 w 1614"/>
              <a:gd name="T15" fmla="*/ 33465 h 1464"/>
              <a:gd name="T16" fmla="*/ 109710 w 1614"/>
              <a:gd name="T17" fmla="*/ 39995 h 1464"/>
              <a:gd name="T18" fmla="*/ 113804 w 1614"/>
              <a:gd name="T19" fmla="*/ 48157 h 1464"/>
              <a:gd name="T20" fmla="*/ 112166 w 1614"/>
              <a:gd name="T21" fmla="*/ 53871 h 1464"/>
              <a:gd name="T22" fmla="*/ 117079 w 1614"/>
              <a:gd name="T23" fmla="*/ 60401 h 1464"/>
              <a:gd name="T24" fmla="*/ 113804 w 1614"/>
              <a:gd name="T25" fmla="*/ 65298 h 1464"/>
              <a:gd name="T26" fmla="*/ 109710 w 1614"/>
              <a:gd name="T27" fmla="*/ 71012 h 1464"/>
              <a:gd name="T28" fmla="*/ 90061 w 1614"/>
              <a:gd name="T29" fmla="*/ 74277 h 1464"/>
              <a:gd name="T30" fmla="*/ 84329 w 1614"/>
              <a:gd name="T31" fmla="*/ 80806 h 1464"/>
              <a:gd name="T32" fmla="*/ 76961 w 1614"/>
              <a:gd name="T33" fmla="*/ 84071 h 1464"/>
              <a:gd name="T34" fmla="*/ 60586 w 1614"/>
              <a:gd name="T35" fmla="*/ 94682 h 1464"/>
              <a:gd name="T36" fmla="*/ 49943 w 1614"/>
              <a:gd name="T37" fmla="*/ 101212 h 1464"/>
              <a:gd name="T38" fmla="*/ 40118 w 1614"/>
              <a:gd name="T39" fmla="*/ 105293 h 1464"/>
              <a:gd name="T40" fmla="*/ 33568 w 1614"/>
              <a:gd name="T41" fmla="*/ 102028 h 1464"/>
              <a:gd name="T42" fmla="*/ 31112 w 1614"/>
              <a:gd name="T43" fmla="*/ 97947 h 1464"/>
              <a:gd name="T44" fmla="*/ 28656 w 1614"/>
              <a:gd name="T45" fmla="*/ 93050 h 1464"/>
              <a:gd name="T46" fmla="*/ 27837 w 1614"/>
              <a:gd name="T47" fmla="*/ 89785 h 1464"/>
              <a:gd name="T48" fmla="*/ 22106 w 1614"/>
              <a:gd name="T49" fmla="*/ 83255 h 1464"/>
              <a:gd name="T50" fmla="*/ 15556 w 1614"/>
              <a:gd name="T51" fmla="*/ 83255 h 1464"/>
              <a:gd name="T52" fmla="*/ 17193 w 1614"/>
              <a:gd name="T53" fmla="*/ 75909 h 1464"/>
              <a:gd name="T54" fmla="*/ 14737 w 1614"/>
              <a:gd name="T55" fmla="*/ 71828 h 1464"/>
              <a:gd name="T56" fmla="*/ 9006 w 1614"/>
              <a:gd name="T57" fmla="*/ 72644 h 1464"/>
              <a:gd name="T58" fmla="*/ 3275 w 1614"/>
              <a:gd name="T59" fmla="*/ 69379 h 1464"/>
              <a:gd name="T60" fmla="*/ 7369 w 1614"/>
              <a:gd name="T61" fmla="*/ 62849 h 1464"/>
              <a:gd name="T62" fmla="*/ 13918 w 1614"/>
              <a:gd name="T63" fmla="*/ 60401 h 1464"/>
              <a:gd name="T64" fmla="*/ 11462 w 1614"/>
              <a:gd name="T65" fmla="*/ 52238 h 1464"/>
              <a:gd name="T66" fmla="*/ 11462 w 1614"/>
              <a:gd name="T67" fmla="*/ 46525 h 1464"/>
              <a:gd name="T68" fmla="*/ 9825 w 1614"/>
              <a:gd name="T69" fmla="*/ 36730 h 1464"/>
              <a:gd name="T70" fmla="*/ 10644 w 1614"/>
              <a:gd name="T71" fmla="*/ 30200 h 1464"/>
              <a:gd name="T72" fmla="*/ 18012 w 1614"/>
              <a:gd name="T73" fmla="*/ 24487 h 1464"/>
              <a:gd name="T74" fmla="*/ 10644 w 1614"/>
              <a:gd name="T75" fmla="*/ 20406 h 1464"/>
              <a:gd name="T76" fmla="*/ 4094 w 1614"/>
              <a:gd name="T77" fmla="*/ 11427 h 1464"/>
              <a:gd name="T78" fmla="*/ 8187 w 1614"/>
              <a:gd name="T79" fmla="*/ 9795 h 1464"/>
              <a:gd name="T80" fmla="*/ 14737 w 1614"/>
              <a:gd name="T81" fmla="*/ 10611 h 1464"/>
              <a:gd name="T82" fmla="*/ 19650 w 1614"/>
              <a:gd name="T83" fmla="*/ 8162 h 1464"/>
              <a:gd name="T84" fmla="*/ 24562 w 1614"/>
              <a:gd name="T85" fmla="*/ 4081 h 1464"/>
              <a:gd name="T86" fmla="*/ 28656 w 1614"/>
              <a:gd name="T87" fmla="*/ 5714 h 1464"/>
              <a:gd name="T88" fmla="*/ 32749 w 1614"/>
              <a:gd name="T89" fmla="*/ 10611 h 1464"/>
              <a:gd name="T90" fmla="*/ 38480 w 1614"/>
              <a:gd name="T91" fmla="*/ 7346 h 1464"/>
              <a:gd name="T92" fmla="*/ 43393 w 1614"/>
              <a:gd name="T93" fmla="*/ 7346 h 1464"/>
              <a:gd name="T94" fmla="*/ 47486 w 1614"/>
              <a:gd name="T95" fmla="*/ 3265 h 1464"/>
              <a:gd name="T96" fmla="*/ 52399 w 1614"/>
              <a:gd name="T97" fmla="*/ 3265 h 1464"/>
              <a:gd name="T98" fmla="*/ 56493 w 1614"/>
              <a:gd name="T99" fmla="*/ 4081 h 1464"/>
              <a:gd name="T100" fmla="*/ 60586 w 1614"/>
              <a:gd name="T101" fmla="*/ 1632 h 1464"/>
              <a:gd name="T102" fmla="*/ 64680 w 1614"/>
              <a:gd name="T103" fmla="*/ 9795 h 1464"/>
              <a:gd name="T104" fmla="*/ 59767 w 1614"/>
              <a:gd name="T105" fmla="*/ 17141 h 1464"/>
              <a:gd name="T106" fmla="*/ 59767 w 1614"/>
              <a:gd name="T107" fmla="*/ 22038 h 1464"/>
              <a:gd name="T108" fmla="*/ 62224 w 1614"/>
              <a:gd name="T109" fmla="*/ 25303 h 1464"/>
              <a:gd name="T110" fmla="*/ 66317 w 1614"/>
              <a:gd name="T111" fmla="*/ 26119 h 1464"/>
              <a:gd name="T112" fmla="*/ 65499 w 1614"/>
              <a:gd name="T113" fmla="*/ 21222 h 1464"/>
              <a:gd name="T114" fmla="*/ 69592 w 1614"/>
              <a:gd name="T115" fmla="*/ 19589 h 1464"/>
              <a:gd name="T116" fmla="*/ 70411 w 1614"/>
              <a:gd name="T117" fmla="*/ 13060 h 146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14" h="1464">
                <a:moveTo>
                  <a:pt x="1026" y="150"/>
                </a:moveTo>
                <a:lnTo>
                  <a:pt x="1050" y="168"/>
                </a:lnTo>
                <a:lnTo>
                  <a:pt x="1068" y="156"/>
                </a:lnTo>
                <a:lnTo>
                  <a:pt x="1086" y="150"/>
                </a:lnTo>
                <a:lnTo>
                  <a:pt x="1086" y="156"/>
                </a:lnTo>
                <a:lnTo>
                  <a:pt x="1092" y="156"/>
                </a:lnTo>
                <a:lnTo>
                  <a:pt x="1104" y="150"/>
                </a:lnTo>
                <a:lnTo>
                  <a:pt x="1116" y="174"/>
                </a:lnTo>
                <a:lnTo>
                  <a:pt x="1116" y="180"/>
                </a:lnTo>
                <a:lnTo>
                  <a:pt x="1104" y="186"/>
                </a:lnTo>
                <a:lnTo>
                  <a:pt x="1116" y="198"/>
                </a:lnTo>
                <a:lnTo>
                  <a:pt x="1122" y="204"/>
                </a:lnTo>
                <a:lnTo>
                  <a:pt x="1140" y="228"/>
                </a:lnTo>
                <a:lnTo>
                  <a:pt x="1146" y="240"/>
                </a:lnTo>
                <a:lnTo>
                  <a:pt x="1152" y="234"/>
                </a:lnTo>
                <a:lnTo>
                  <a:pt x="1158" y="234"/>
                </a:lnTo>
                <a:lnTo>
                  <a:pt x="1176" y="240"/>
                </a:lnTo>
                <a:lnTo>
                  <a:pt x="1176" y="246"/>
                </a:lnTo>
                <a:lnTo>
                  <a:pt x="1200" y="240"/>
                </a:lnTo>
                <a:lnTo>
                  <a:pt x="1206" y="234"/>
                </a:lnTo>
                <a:lnTo>
                  <a:pt x="1218" y="240"/>
                </a:lnTo>
                <a:lnTo>
                  <a:pt x="1230" y="240"/>
                </a:lnTo>
                <a:lnTo>
                  <a:pt x="1236" y="234"/>
                </a:lnTo>
                <a:lnTo>
                  <a:pt x="1248" y="246"/>
                </a:lnTo>
                <a:lnTo>
                  <a:pt x="1260" y="252"/>
                </a:lnTo>
                <a:lnTo>
                  <a:pt x="1278" y="258"/>
                </a:lnTo>
                <a:lnTo>
                  <a:pt x="1260" y="276"/>
                </a:lnTo>
                <a:lnTo>
                  <a:pt x="1254" y="294"/>
                </a:lnTo>
                <a:lnTo>
                  <a:pt x="1254" y="306"/>
                </a:lnTo>
                <a:lnTo>
                  <a:pt x="1254" y="312"/>
                </a:lnTo>
                <a:lnTo>
                  <a:pt x="1254" y="318"/>
                </a:lnTo>
                <a:lnTo>
                  <a:pt x="1260" y="324"/>
                </a:lnTo>
                <a:lnTo>
                  <a:pt x="1266" y="324"/>
                </a:lnTo>
                <a:lnTo>
                  <a:pt x="1266" y="330"/>
                </a:lnTo>
                <a:lnTo>
                  <a:pt x="1266" y="336"/>
                </a:lnTo>
                <a:lnTo>
                  <a:pt x="1272" y="336"/>
                </a:lnTo>
                <a:lnTo>
                  <a:pt x="1278" y="348"/>
                </a:lnTo>
                <a:lnTo>
                  <a:pt x="1284" y="354"/>
                </a:lnTo>
                <a:lnTo>
                  <a:pt x="1296" y="342"/>
                </a:lnTo>
                <a:lnTo>
                  <a:pt x="1314" y="342"/>
                </a:lnTo>
                <a:lnTo>
                  <a:pt x="1320" y="360"/>
                </a:lnTo>
                <a:lnTo>
                  <a:pt x="1332" y="366"/>
                </a:lnTo>
                <a:lnTo>
                  <a:pt x="1344" y="390"/>
                </a:lnTo>
                <a:lnTo>
                  <a:pt x="1350" y="396"/>
                </a:lnTo>
                <a:lnTo>
                  <a:pt x="1356" y="396"/>
                </a:lnTo>
                <a:lnTo>
                  <a:pt x="1362" y="396"/>
                </a:lnTo>
                <a:lnTo>
                  <a:pt x="1392" y="384"/>
                </a:lnTo>
                <a:lnTo>
                  <a:pt x="1410" y="366"/>
                </a:lnTo>
                <a:lnTo>
                  <a:pt x="1416" y="366"/>
                </a:lnTo>
                <a:lnTo>
                  <a:pt x="1428" y="360"/>
                </a:lnTo>
                <a:lnTo>
                  <a:pt x="1434" y="372"/>
                </a:lnTo>
                <a:lnTo>
                  <a:pt x="1440" y="378"/>
                </a:lnTo>
                <a:lnTo>
                  <a:pt x="1446" y="384"/>
                </a:lnTo>
                <a:lnTo>
                  <a:pt x="1446" y="390"/>
                </a:lnTo>
                <a:lnTo>
                  <a:pt x="1434" y="396"/>
                </a:lnTo>
                <a:lnTo>
                  <a:pt x="1452" y="420"/>
                </a:lnTo>
                <a:lnTo>
                  <a:pt x="1470" y="420"/>
                </a:lnTo>
                <a:lnTo>
                  <a:pt x="1476" y="426"/>
                </a:lnTo>
                <a:lnTo>
                  <a:pt x="1482" y="438"/>
                </a:lnTo>
                <a:lnTo>
                  <a:pt x="1482" y="444"/>
                </a:lnTo>
                <a:lnTo>
                  <a:pt x="1488" y="444"/>
                </a:lnTo>
                <a:lnTo>
                  <a:pt x="1500" y="432"/>
                </a:lnTo>
                <a:lnTo>
                  <a:pt x="1518" y="450"/>
                </a:lnTo>
                <a:lnTo>
                  <a:pt x="1506" y="462"/>
                </a:lnTo>
                <a:lnTo>
                  <a:pt x="1518" y="498"/>
                </a:lnTo>
                <a:lnTo>
                  <a:pt x="1524" y="510"/>
                </a:lnTo>
                <a:lnTo>
                  <a:pt x="1530" y="528"/>
                </a:lnTo>
                <a:lnTo>
                  <a:pt x="1518" y="528"/>
                </a:lnTo>
                <a:lnTo>
                  <a:pt x="1518" y="540"/>
                </a:lnTo>
                <a:lnTo>
                  <a:pt x="1524" y="546"/>
                </a:lnTo>
                <a:lnTo>
                  <a:pt x="1512" y="552"/>
                </a:lnTo>
                <a:lnTo>
                  <a:pt x="1506" y="552"/>
                </a:lnTo>
                <a:lnTo>
                  <a:pt x="1512" y="576"/>
                </a:lnTo>
                <a:lnTo>
                  <a:pt x="1512" y="600"/>
                </a:lnTo>
                <a:lnTo>
                  <a:pt x="1524" y="612"/>
                </a:lnTo>
                <a:lnTo>
                  <a:pt x="1542" y="624"/>
                </a:lnTo>
                <a:lnTo>
                  <a:pt x="1548" y="636"/>
                </a:lnTo>
                <a:lnTo>
                  <a:pt x="1554" y="636"/>
                </a:lnTo>
                <a:lnTo>
                  <a:pt x="1554" y="654"/>
                </a:lnTo>
                <a:lnTo>
                  <a:pt x="1554" y="666"/>
                </a:lnTo>
                <a:lnTo>
                  <a:pt x="1560" y="672"/>
                </a:lnTo>
                <a:lnTo>
                  <a:pt x="1566" y="678"/>
                </a:lnTo>
                <a:lnTo>
                  <a:pt x="1572" y="684"/>
                </a:lnTo>
                <a:lnTo>
                  <a:pt x="1566" y="690"/>
                </a:lnTo>
                <a:lnTo>
                  <a:pt x="1554" y="690"/>
                </a:lnTo>
                <a:lnTo>
                  <a:pt x="1542" y="702"/>
                </a:lnTo>
                <a:lnTo>
                  <a:pt x="1530" y="714"/>
                </a:lnTo>
                <a:lnTo>
                  <a:pt x="1536" y="750"/>
                </a:lnTo>
                <a:lnTo>
                  <a:pt x="1548" y="774"/>
                </a:lnTo>
                <a:lnTo>
                  <a:pt x="1560" y="786"/>
                </a:lnTo>
                <a:lnTo>
                  <a:pt x="1572" y="792"/>
                </a:lnTo>
                <a:lnTo>
                  <a:pt x="1578" y="816"/>
                </a:lnTo>
                <a:lnTo>
                  <a:pt x="1578" y="828"/>
                </a:lnTo>
                <a:lnTo>
                  <a:pt x="1614" y="816"/>
                </a:lnTo>
                <a:lnTo>
                  <a:pt x="1608" y="822"/>
                </a:lnTo>
                <a:lnTo>
                  <a:pt x="1608" y="828"/>
                </a:lnTo>
                <a:lnTo>
                  <a:pt x="1590" y="840"/>
                </a:lnTo>
                <a:lnTo>
                  <a:pt x="1584" y="840"/>
                </a:lnTo>
                <a:lnTo>
                  <a:pt x="1584" y="846"/>
                </a:lnTo>
                <a:lnTo>
                  <a:pt x="1578" y="852"/>
                </a:lnTo>
                <a:lnTo>
                  <a:pt x="1578" y="864"/>
                </a:lnTo>
                <a:lnTo>
                  <a:pt x="1566" y="870"/>
                </a:lnTo>
                <a:lnTo>
                  <a:pt x="1560" y="888"/>
                </a:lnTo>
                <a:lnTo>
                  <a:pt x="1560" y="900"/>
                </a:lnTo>
                <a:lnTo>
                  <a:pt x="1560" y="912"/>
                </a:lnTo>
                <a:lnTo>
                  <a:pt x="1554" y="918"/>
                </a:lnTo>
                <a:lnTo>
                  <a:pt x="1554" y="924"/>
                </a:lnTo>
                <a:lnTo>
                  <a:pt x="1548" y="936"/>
                </a:lnTo>
                <a:lnTo>
                  <a:pt x="1542" y="942"/>
                </a:lnTo>
                <a:lnTo>
                  <a:pt x="1536" y="948"/>
                </a:lnTo>
                <a:lnTo>
                  <a:pt x="1518" y="966"/>
                </a:lnTo>
                <a:lnTo>
                  <a:pt x="1500" y="984"/>
                </a:lnTo>
                <a:lnTo>
                  <a:pt x="1488" y="978"/>
                </a:lnTo>
                <a:lnTo>
                  <a:pt x="1476" y="960"/>
                </a:lnTo>
                <a:lnTo>
                  <a:pt x="1452" y="978"/>
                </a:lnTo>
                <a:lnTo>
                  <a:pt x="1446" y="972"/>
                </a:lnTo>
                <a:lnTo>
                  <a:pt x="1356" y="942"/>
                </a:lnTo>
                <a:lnTo>
                  <a:pt x="1326" y="960"/>
                </a:lnTo>
                <a:lnTo>
                  <a:pt x="1260" y="1002"/>
                </a:lnTo>
                <a:lnTo>
                  <a:pt x="1236" y="1020"/>
                </a:lnTo>
                <a:lnTo>
                  <a:pt x="1224" y="1026"/>
                </a:lnTo>
                <a:lnTo>
                  <a:pt x="1212" y="1032"/>
                </a:lnTo>
                <a:lnTo>
                  <a:pt x="1194" y="1044"/>
                </a:lnTo>
                <a:lnTo>
                  <a:pt x="1176" y="1050"/>
                </a:lnTo>
                <a:lnTo>
                  <a:pt x="1164" y="1056"/>
                </a:lnTo>
                <a:lnTo>
                  <a:pt x="1158" y="1062"/>
                </a:lnTo>
                <a:lnTo>
                  <a:pt x="1158" y="1086"/>
                </a:lnTo>
                <a:lnTo>
                  <a:pt x="1158" y="1110"/>
                </a:lnTo>
                <a:lnTo>
                  <a:pt x="1152" y="1122"/>
                </a:lnTo>
                <a:lnTo>
                  <a:pt x="1140" y="1140"/>
                </a:lnTo>
                <a:lnTo>
                  <a:pt x="1128" y="1146"/>
                </a:lnTo>
                <a:lnTo>
                  <a:pt x="1104" y="1152"/>
                </a:lnTo>
                <a:lnTo>
                  <a:pt x="1080" y="1152"/>
                </a:lnTo>
                <a:lnTo>
                  <a:pt x="1062" y="1158"/>
                </a:lnTo>
                <a:lnTo>
                  <a:pt x="1056" y="1158"/>
                </a:lnTo>
                <a:lnTo>
                  <a:pt x="1050" y="1164"/>
                </a:lnTo>
                <a:lnTo>
                  <a:pt x="1032" y="1176"/>
                </a:lnTo>
                <a:lnTo>
                  <a:pt x="1014" y="1194"/>
                </a:lnTo>
                <a:lnTo>
                  <a:pt x="1002" y="1206"/>
                </a:lnTo>
                <a:lnTo>
                  <a:pt x="936" y="1242"/>
                </a:lnTo>
                <a:lnTo>
                  <a:pt x="924" y="1254"/>
                </a:lnTo>
                <a:lnTo>
                  <a:pt x="912" y="1260"/>
                </a:lnTo>
                <a:lnTo>
                  <a:pt x="864" y="1296"/>
                </a:lnTo>
                <a:lnTo>
                  <a:pt x="834" y="1314"/>
                </a:lnTo>
                <a:lnTo>
                  <a:pt x="810" y="1326"/>
                </a:lnTo>
                <a:lnTo>
                  <a:pt x="810" y="1332"/>
                </a:lnTo>
                <a:lnTo>
                  <a:pt x="792" y="1338"/>
                </a:lnTo>
                <a:lnTo>
                  <a:pt x="786" y="1338"/>
                </a:lnTo>
                <a:lnTo>
                  <a:pt x="774" y="1344"/>
                </a:lnTo>
                <a:lnTo>
                  <a:pt x="756" y="1362"/>
                </a:lnTo>
                <a:lnTo>
                  <a:pt x="714" y="1386"/>
                </a:lnTo>
                <a:lnTo>
                  <a:pt x="684" y="1404"/>
                </a:lnTo>
                <a:lnTo>
                  <a:pt x="666" y="1428"/>
                </a:lnTo>
                <a:lnTo>
                  <a:pt x="642" y="1446"/>
                </a:lnTo>
                <a:lnTo>
                  <a:pt x="624" y="1452"/>
                </a:lnTo>
                <a:lnTo>
                  <a:pt x="600" y="1458"/>
                </a:lnTo>
                <a:lnTo>
                  <a:pt x="588" y="1464"/>
                </a:lnTo>
                <a:lnTo>
                  <a:pt x="576" y="1458"/>
                </a:lnTo>
                <a:lnTo>
                  <a:pt x="558" y="1458"/>
                </a:lnTo>
                <a:lnTo>
                  <a:pt x="552" y="1458"/>
                </a:lnTo>
                <a:lnTo>
                  <a:pt x="546" y="1464"/>
                </a:lnTo>
                <a:lnTo>
                  <a:pt x="534" y="1464"/>
                </a:lnTo>
                <a:lnTo>
                  <a:pt x="522" y="1452"/>
                </a:lnTo>
                <a:lnTo>
                  <a:pt x="510" y="1446"/>
                </a:lnTo>
                <a:lnTo>
                  <a:pt x="492" y="1434"/>
                </a:lnTo>
                <a:lnTo>
                  <a:pt x="480" y="1428"/>
                </a:lnTo>
                <a:lnTo>
                  <a:pt x="462" y="1416"/>
                </a:lnTo>
                <a:lnTo>
                  <a:pt x="456" y="1410"/>
                </a:lnTo>
                <a:lnTo>
                  <a:pt x="450" y="1404"/>
                </a:lnTo>
                <a:lnTo>
                  <a:pt x="450" y="1398"/>
                </a:lnTo>
                <a:lnTo>
                  <a:pt x="444" y="1392"/>
                </a:lnTo>
                <a:lnTo>
                  <a:pt x="438" y="1380"/>
                </a:lnTo>
                <a:lnTo>
                  <a:pt x="438" y="1374"/>
                </a:lnTo>
                <a:lnTo>
                  <a:pt x="432" y="1368"/>
                </a:lnTo>
                <a:lnTo>
                  <a:pt x="426" y="1362"/>
                </a:lnTo>
                <a:lnTo>
                  <a:pt x="426" y="1350"/>
                </a:lnTo>
                <a:lnTo>
                  <a:pt x="420" y="1350"/>
                </a:lnTo>
                <a:lnTo>
                  <a:pt x="414" y="1344"/>
                </a:lnTo>
                <a:lnTo>
                  <a:pt x="408" y="1338"/>
                </a:lnTo>
                <a:lnTo>
                  <a:pt x="402" y="1326"/>
                </a:lnTo>
                <a:lnTo>
                  <a:pt x="402" y="1314"/>
                </a:lnTo>
                <a:lnTo>
                  <a:pt x="396" y="1302"/>
                </a:lnTo>
                <a:lnTo>
                  <a:pt x="390" y="1296"/>
                </a:lnTo>
                <a:lnTo>
                  <a:pt x="396" y="1290"/>
                </a:lnTo>
                <a:lnTo>
                  <a:pt x="408" y="1278"/>
                </a:lnTo>
                <a:lnTo>
                  <a:pt x="402" y="1272"/>
                </a:lnTo>
                <a:lnTo>
                  <a:pt x="402" y="1260"/>
                </a:lnTo>
                <a:lnTo>
                  <a:pt x="402" y="1254"/>
                </a:lnTo>
                <a:lnTo>
                  <a:pt x="402" y="1248"/>
                </a:lnTo>
                <a:lnTo>
                  <a:pt x="396" y="1248"/>
                </a:lnTo>
                <a:lnTo>
                  <a:pt x="384" y="1242"/>
                </a:lnTo>
                <a:lnTo>
                  <a:pt x="378" y="1236"/>
                </a:lnTo>
                <a:lnTo>
                  <a:pt x="378" y="1224"/>
                </a:lnTo>
                <a:lnTo>
                  <a:pt x="378" y="1212"/>
                </a:lnTo>
                <a:lnTo>
                  <a:pt x="366" y="1206"/>
                </a:lnTo>
                <a:lnTo>
                  <a:pt x="360" y="1200"/>
                </a:lnTo>
                <a:lnTo>
                  <a:pt x="342" y="1188"/>
                </a:lnTo>
                <a:lnTo>
                  <a:pt x="336" y="1176"/>
                </a:lnTo>
                <a:lnTo>
                  <a:pt x="318" y="1158"/>
                </a:lnTo>
                <a:lnTo>
                  <a:pt x="300" y="1146"/>
                </a:lnTo>
                <a:lnTo>
                  <a:pt x="288" y="1152"/>
                </a:lnTo>
                <a:lnTo>
                  <a:pt x="276" y="1158"/>
                </a:lnTo>
                <a:lnTo>
                  <a:pt x="270" y="1158"/>
                </a:lnTo>
                <a:lnTo>
                  <a:pt x="264" y="1164"/>
                </a:lnTo>
                <a:lnTo>
                  <a:pt x="252" y="1164"/>
                </a:lnTo>
                <a:lnTo>
                  <a:pt x="240" y="1158"/>
                </a:lnTo>
                <a:lnTo>
                  <a:pt x="228" y="1152"/>
                </a:lnTo>
                <a:lnTo>
                  <a:pt x="216" y="1152"/>
                </a:lnTo>
                <a:lnTo>
                  <a:pt x="210" y="1128"/>
                </a:lnTo>
                <a:lnTo>
                  <a:pt x="204" y="1116"/>
                </a:lnTo>
                <a:lnTo>
                  <a:pt x="216" y="1104"/>
                </a:lnTo>
                <a:lnTo>
                  <a:pt x="216" y="1086"/>
                </a:lnTo>
                <a:lnTo>
                  <a:pt x="222" y="1074"/>
                </a:lnTo>
                <a:lnTo>
                  <a:pt x="222" y="1062"/>
                </a:lnTo>
                <a:lnTo>
                  <a:pt x="240" y="1056"/>
                </a:lnTo>
                <a:lnTo>
                  <a:pt x="234" y="1050"/>
                </a:lnTo>
                <a:lnTo>
                  <a:pt x="234" y="1032"/>
                </a:lnTo>
                <a:lnTo>
                  <a:pt x="228" y="1020"/>
                </a:lnTo>
                <a:lnTo>
                  <a:pt x="222" y="1002"/>
                </a:lnTo>
                <a:lnTo>
                  <a:pt x="216" y="996"/>
                </a:lnTo>
                <a:lnTo>
                  <a:pt x="210" y="996"/>
                </a:lnTo>
                <a:lnTo>
                  <a:pt x="210" y="1002"/>
                </a:lnTo>
                <a:lnTo>
                  <a:pt x="204" y="1002"/>
                </a:lnTo>
                <a:lnTo>
                  <a:pt x="198" y="996"/>
                </a:lnTo>
                <a:lnTo>
                  <a:pt x="198" y="990"/>
                </a:lnTo>
                <a:lnTo>
                  <a:pt x="186" y="1002"/>
                </a:lnTo>
                <a:lnTo>
                  <a:pt x="174" y="1008"/>
                </a:lnTo>
                <a:lnTo>
                  <a:pt x="162" y="1008"/>
                </a:lnTo>
                <a:lnTo>
                  <a:pt x="156" y="1008"/>
                </a:lnTo>
                <a:lnTo>
                  <a:pt x="144" y="1008"/>
                </a:lnTo>
                <a:lnTo>
                  <a:pt x="132" y="1008"/>
                </a:lnTo>
                <a:lnTo>
                  <a:pt x="126" y="1008"/>
                </a:lnTo>
                <a:lnTo>
                  <a:pt x="114" y="1002"/>
                </a:lnTo>
                <a:lnTo>
                  <a:pt x="108" y="984"/>
                </a:lnTo>
                <a:lnTo>
                  <a:pt x="102" y="978"/>
                </a:lnTo>
                <a:lnTo>
                  <a:pt x="96" y="978"/>
                </a:lnTo>
                <a:lnTo>
                  <a:pt x="84" y="978"/>
                </a:lnTo>
                <a:lnTo>
                  <a:pt x="72" y="978"/>
                </a:lnTo>
                <a:lnTo>
                  <a:pt x="66" y="960"/>
                </a:lnTo>
                <a:lnTo>
                  <a:pt x="42" y="954"/>
                </a:lnTo>
                <a:lnTo>
                  <a:pt x="30" y="948"/>
                </a:lnTo>
                <a:lnTo>
                  <a:pt x="6" y="924"/>
                </a:lnTo>
                <a:lnTo>
                  <a:pt x="0" y="906"/>
                </a:lnTo>
                <a:lnTo>
                  <a:pt x="42" y="900"/>
                </a:lnTo>
                <a:lnTo>
                  <a:pt x="54" y="900"/>
                </a:lnTo>
                <a:lnTo>
                  <a:pt x="78" y="870"/>
                </a:lnTo>
                <a:lnTo>
                  <a:pt x="90" y="870"/>
                </a:lnTo>
                <a:lnTo>
                  <a:pt x="102" y="864"/>
                </a:lnTo>
                <a:lnTo>
                  <a:pt x="114" y="870"/>
                </a:lnTo>
                <a:lnTo>
                  <a:pt x="132" y="858"/>
                </a:lnTo>
                <a:lnTo>
                  <a:pt x="156" y="870"/>
                </a:lnTo>
                <a:lnTo>
                  <a:pt x="162" y="870"/>
                </a:lnTo>
                <a:lnTo>
                  <a:pt x="168" y="858"/>
                </a:lnTo>
                <a:lnTo>
                  <a:pt x="174" y="852"/>
                </a:lnTo>
                <a:lnTo>
                  <a:pt x="180" y="840"/>
                </a:lnTo>
                <a:lnTo>
                  <a:pt x="186" y="828"/>
                </a:lnTo>
                <a:lnTo>
                  <a:pt x="186" y="816"/>
                </a:lnTo>
                <a:lnTo>
                  <a:pt x="180" y="804"/>
                </a:lnTo>
                <a:lnTo>
                  <a:pt x="180" y="786"/>
                </a:lnTo>
                <a:lnTo>
                  <a:pt x="180" y="774"/>
                </a:lnTo>
                <a:lnTo>
                  <a:pt x="174" y="762"/>
                </a:lnTo>
                <a:lnTo>
                  <a:pt x="168" y="744"/>
                </a:lnTo>
                <a:lnTo>
                  <a:pt x="162" y="732"/>
                </a:lnTo>
                <a:lnTo>
                  <a:pt x="162" y="726"/>
                </a:lnTo>
                <a:lnTo>
                  <a:pt x="156" y="708"/>
                </a:lnTo>
                <a:lnTo>
                  <a:pt x="156" y="696"/>
                </a:lnTo>
                <a:lnTo>
                  <a:pt x="162" y="684"/>
                </a:lnTo>
                <a:lnTo>
                  <a:pt x="168" y="672"/>
                </a:lnTo>
                <a:lnTo>
                  <a:pt x="150" y="666"/>
                </a:lnTo>
                <a:lnTo>
                  <a:pt x="156" y="660"/>
                </a:lnTo>
                <a:lnTo>
                  <a:pt x="162" y="654"/>
                </a:lnTo>
                <a:lnTo>
                  <a:pt x="162" y="648"/>
                </a:lnTo>
                <a:lnTo>
                  <a:pt x="162" y="630"/>
                </a:lnTo>
                <a:lnTo>
                  <a:pt x="168" y="612"/>
                </a:lnTo>
                <a:lnTo>
                  <a:pt x="174" y="588"/>
                </a:lnTo>
                <a:lnTo>
                  <a:pt x="162" y="588"/>
                </a:lnTo>
                <a:lnTo>
                  <a:pt x="156" y="576"/>
                </a:lnTo>
                <a:lnTo>
                  <a:pt x="144" y="540"/>
                </a:lnTo>
                <a:lnTo>
                  <a:pt x="138" y="510"/>
                </a:lnTo>
                <a:lnTo>
                  <a:pt x="138" y="504"/>
                </a:lnTo>
                <a:lnTo>
                  <a:pt x="138" y="492"/>
                </a:lnTo>
                <a:lnTo>
                  <a:pt x="138" y="474"/>
                </a:lnTo>
                <a:lnTo>
                  <a:pt x="144" y="456"/>
                </a:lnTo>
                <a:lnTo>
                  <a:pt x="144" y="450"/>
                </a:lnTo>
                <a:lnTo>
                  <a:pt x="144" y="438"/>
                </a:lnTo>
                <a:lnTo>
                  <a:pt x="150" y="438"/>
                </a:lnTo>
                <a:lnTo>
                  <a:pt x="150" y="432"/>
                </a:lnTo>
                <a:lnTo>
                  <a:pt x="150" y="420"/>
                </a:lnTo>
                <a:lnTo>
                  <a:pt x="144" y="408"/>
                </a:lnTo>
                <a:lnTo>
                  <a:pt x="156" y="384"/>
                </a:lnTo>
                <a:lnTo>
                  <a:pt x="162" y="378"/>
                </a:lnTo>
                <a:lnTo>
                  <a:pt x="168" y="372"/>
                </a:lnTo>
                <a:lnTo>
                  <a:pt x="192" y="366"/>
                </a:lnTo>
                <a:lnTo>
                  <a:pt x="198" y="366"/>
                </a:lnTo>
                <a:lnTo>
                  <a:pt x="216" y="360"/>
                </a:lnTo>
                <a:lnTo>
                  <a:pt x="240" y="342"/>
                </a:lnTo>
                <a:lnTo>
                  <a:pt x="234" y="336"/>
                </a:lnTo>
                <a:lnTo>
                  <a:pt x="228" y="330"/>
                </a:lnTo>
                <a:lnTo>
                  <a:pt x="216" y="318"/>
                </a:lnTo>
                <a:lnTo>
                  <a:pt x="198" y="318"/>
                </a:lnTo>
                <a:lnTo>
                  <a:pt x="180" y="306"/>
                </a:lnTo>
                <a:lnTo>
                  <a:pt x="156" y="300"/>
                </a:lnTo>
                <a:lnTo>
                  <a:pt x="150" y="294"/>
                </a:lnTo>
                <a:lnTo>
                  <a:pt x="150" y="282"/>
                </a:lnTo>
                <a:lnTo>
                  <a:pt x="138" y="288"/>
                </a:lnTo>
                <a:lnTo>
                  <a:pt x="114" y="252"/>
                </a:lnTo>
                <a:lnTo>
                  <a:pt x="132" y="246"/>
                </a:lnTo>
                <a:lnTo>
                  <a:pt x="126" y="240"/>
                </a:lnTo>
                <a:lnTo>
                  <a:pt x="108" y="228"/>
                </a:lnTo>
                <a:lnTo>
                  <a:pt x="90" y="210"/>
                </a:lnTo>
                <a:lnTo>
                  <a:pt x="72" y="162"/>
                </a:lnTo>
                <a:lnTo>
                  <a:pt x="60" y="162"/>
                </a:lnTo>
                <a:lnTo>
                  <a:pt x="60" y="144"/>
                </a:lnTo>
                <a:lnTo>
                  <a:pt x="78" y="144"/>
                </a:lnTo>
                <a:lnTo>
                  <a:pt x="84" y="144"/>
                </a:lnTo>
                <a:lnTo>
                  <a:pt x="90" y="144"/>
                </a:lnTo>
                <a:lnTo>
                  <a:pt x="96" y="138"/>
                </a:lnTo>
                <a:lnTo>
                  <a:pt x="96" y="132"/>
                </a:lnTo>
                <a:lnTo>
                  <a:pt x="102" y="132"/>
                </a:lnTo>
                <a:lnTo>
                  <a:pt x="108" y="138"/>
                </a:lnTo>
                <a:lnTo>
                  <a:pt x="108" y="144"/>
                </a:lnTo>
                <a:lnTo>
                  <a:pt x="114" y="144"/>
                </a:lnTo>
                <a:lnTo>
                  <a:pt x="126" y="144"/>
                </a:lnTo>
                <a:lnTo>
                  <a:pt x="132" y="138"/>
                </a:lnTo>
                <a:lnTo>
                  <a:pt x="138" y="144"/>
                </a:lnTo>
                <a:lnTo>
                  <a:pt x="168" y="144"/>
                </a:lnTo>
                <a:lnTo>
                  <a:pt x="180" y="144"/>
                </a:lnTo>
                <a:lnTo>
                  <a:pt x="204" y="144"/>
                </a:lnTo>
                <a:lnTo>
                  <a:pt x="228" y="138"/>
                </a:lnTo>
                <a:lnTo>
                  <a:pt x="240" y="132"/>
                </a:lnTo>
                <a:lnTo>
                  <a:pt x="252" y="120"/>
                </a:lnTo>
                <a:lnTo>
                  <a:pt x="258" y="120"/>
                </a:lnTo>
                <a:lnTo>
                  <a:pt x="270" y="120"/>
                </a:lnTo>
                <a:lnTo>
                  <a:pt x="264" y="120"/>
                </a:lnTo>
                <a:lnTo>
                  <a:pt x="258" y="108"/>
                </a:lnTo>
                <a:lnTo>
                  <a:pt x="276" y="108"/>
                </a:lnTo>
                <a:lnTo>
                  <a:pt x="294" y="108"/>
                </a:lnTo>
                <a:lnTo>
                  <a:pt x="300" y="108"/>
                </a:lnTo>
                <a:lnTo>
                  <a:pt x="312" y="102"/>
                </a:lnTo>
                <a:lnTo>
                  <a:pt x="318" y="96"/>
                </a:lnTo>
                <a:lnTo>
                  <a:pt x="324" y="84"/>
                </a:lnTo>
                <a:lnTo>
                  <a:pt x="330" y="72"/>
                </a:lnTo>
                <a:lnTo>
                  <a:pt x="342" y="66"/>
                </a:lnTo>
                <a:lnTo>
                  <a:pt x="336" y="54"/>
                </a:lnTo>
                <a:lnTo>
                  <a:pt x="342" y="48"/>
                </a:lnTo>
                <a:lnTo>
                  <a:pt x="354" y="54"/>
                </a:lnTo>
                <a:lnTo>
                  <a:pt x="360" y="42"/>
                </a:lnTo>
                <a:lnTo>
                  <a:pt x="372" y="42"/>
                </a:lnTo>
                <a:lnTo>
                  <a:pt x="372" y="60"/>
                </a:lnTo>
                <a:lnTo>
                  <a:pt x="366" y="72"/>
                </a:lnTo>
                <a:lnTo>
                  <a:pt x="378" y="72"/>
                </a:lnTo>
                <a:lnTo>
                  <a:pt x="390" y="78"/>
                </a:lnTo>
                <a:lnTo>
                  <a:pt x="396" y="96"/>
                </a:lnTo>
                <a:lnTo>
                  <a:pt x="402" y="108"/>
                </a:lnTo>
                <a:lnTo>
                  <a:pt x="420" y="114"/>
                </a:lnTo>
                <a:lnTo>
                  <a:pt x="426" y="120"/>
                </a:lnTo>
                <a:lnTo>
                  <a:pt x="420" y="132"/>
                </a:lnTo>
                <a:lnTo>
                  <a:pt x="420" y="138"/>
                </a:lnTo>
                <a:lnTo>
                  <a:pt x="432" y="150"/>
                </a:lnTo>
                <a:lnTo>
                  <a:pt x="444" y="144"/>
                </a:lnTo>
                <a:lnTo>
                  <a:pt x="462" y="144"/>
                </a:lnTo>
                <a:lnTo>
                  <a:pt x="480" y="144"/>
                </a:lnTo>
                <a:lnTo>
                  <a:pt x="486" y="138"/>
                </a:lnTo>
                <a:lnTo>
                  <a:pt x="492" y="138"/>
                </a:lnTo>
                <a:lnTo>
                  <a:pt x="498" y="114"/>
                </a:lnTo>
                <a:lnTo>
                  <a:pt x="504" y="120"/>
                </a:lnTo>
                <a:lnTo>
                  <a:pt x="522" y="108"/>
                </a:lnTo>
                <a:lnTo>
                  <a:pt x="528" y="102"/>
                </a:lnTo>
                <a:lnTo>
                  <a:pt x="510" y="96"/>
                </a:lnTo>
                <a:lnTo>
                  <a:pt x="522" y="72"/>
                </a:lnTo>
                <a:lnTo>
                  <a:pt x="540" y="60"/>
                </a:lnTo>
                <a:lnTo>
                  <a:pt x="552" y="72"/>
                </a:lnTo>
                <a:lnTo>
                  <a:pt x="570" y="72"/>
                </a:lnTo>
                <a:lnTo>
                  <a:pt x="582" y="84"/>
                </a:lnTo>
                <a:lnTo>
                  <a:pt x="588" y="84"/>
                </a:lnTo>
                <a:lnTo>
                  <a:pt x="594" y="96"/>
                </a:lnTo>
                <a:lnTo>
                  <a:pt x="612" y="84"/>
                </a:lnTo>
                <a:lnTo>
                  <a:pt x="612" y="72"/>
                </a:lnTo>
                <a:lnTo>
                  <a:pt x="606" y="72"/>
                </a:lnTo>
                <a:lnTo>
                  <a:pt x="618" y="54"/>
                </a:lnTo>
                <a:lnTo>
                  <a:pt x="630" y="48"/>
                </a:lnTo>
                <a:lnTo>
                  <a:pt x="636" y="54"/>
                </a:lnTo>
                <a:lnTo>
                  <a:pt x="648" y="48"/>
                </a:lnTo>
                <a:lnTo>
                  <a:pt x="654" y="42"/>
                </a:lnTo>
                <a:lnTo>
                  <a:pt x="672" y="54"/>
                </a:lnTo>
                <a:lnTo>
                  <a:pt x="684" y="60"/>
                </a:lnTo>
                <a:lnTo>
                  <a:pt x="690" y="66"/>
                </a:lnTo>
                <a:lnTo>
                  <a:pt x="696" y="66"/>
                </a:lnTo>
                <a:lnTo>
                  <a:pt x="708" y="60"/>
                </a:lnTo>
                <a:lnTo>
                  <a:pt x="720" y="54"/>
                </a:lnTo>
                <a:lnTo>
                  <a:pt x="720" y="48"/>
                </a:lnTo>
                <a:lnTo>
                  <a:pt x="720" y="42"/>
                </a:lnTo>
                <a:lnTo>
                  <a:pt x="720" y="30"/>
                </a:lnTo>
                <a:lnTo>
                  <a:pt x="720" y="24"/>
                </a:lnTo>
                <a:lnTo>
                  <a:pt x="738" y="24"/>
                </a:lnTo>
                <a:lnTo>
                  <a:pt x="750" y="30"/>
                </a:lnTo>
                <a:lnTo>
                  <a:pt x="762" y="24"/>
                </a:lnTo>
                <a:lnTo>
                  <a:pt x="774" y="24"/>
                </a:lnTo>
                <a:lnTo>
                  <a:pt x="774" y="36"/>
                </a:lnTo>
                <a:lnTo>
                  <a:pt x="774" y="54"/>
                </a:lnTo>
                <a:lnTo>
                  <a:pt x="786" y="48"/>
                </a:lnTo>
                <a:lnTo>
                  <a:pt x="798" y="48"/>
                </a:lnTo>
                <a:lnTo>
                  <a:pt x="810" y="54"/>
                </a:lnTo>
                <a:lnTo>
                  <a:pt x="810" y="48"/>
                </a:lnTo>
                <a:lnTo>
                  <a:pt x="816" y="0"/>
                </a:lnTo>
                <a:lnTo>
                  <a:pt x="822" y="12"/>
                </a:lnTo>
                <a:lnTo>
                  <a:pt x="834" y="18"/>
                </a:lnTo>
                <a:lnTo>
                  <a:pt x="834" y="24"/>
                </a:lnTo>
                <a:lnTo>
                  <a:pt x="840" y="42"/>
                </a:lnTo>
                <a:lnTo>
                  <a:pt x="846" y="48"/>
                </a:lnTo>
                <a:lnTo>
                  <a:pt x="846" y="60"/>
                </a:lnTo>
                <a:lnTo>
                  <a:pt x="852" y="66"/>
                </a:lnTo>
                <a:lnTo>
                  <a:pt x="852" y="72"/>
                </a:lnTo>
                <a:lnTo>
                  <a:pt x="870" y="96"/>
                </a:lnTo>
                <a:lnTo>
                  <a:pt x="882" y="120"/>
                </a:lnTo>
                <a:lnTo>
                  <a:pt x="888" y="132"/>
                </a:lnTo>
                <a:lnTo>
                  <a:pt x="888" y="138"/>
                </a:lnTo>
                <a:lnTo>
                  <a:pt x="876" y="156"/>
                </a:lnTo>
                <a:lnTo>
                  <a:pt x="894" y="180"/>
                </a:lnTo>
                <a:lnTo>
                  <a:pt x="882" y="198"/>
                </a:lnTo>
                <a:lnTo>
                  <a:pt x="858" y="186"/>
                </a:lnTo>
                <a:lnTo>
                  <a:pt x="858" y="198"/>
                </a:lnTo>
                <a:lnTo>
                  <a:pt x="834" y="228"/>
                </a:lnTo>
                <a:lnTo>
                  <a:pt x="816" y="240"/>
                </a:lnTo>
                <a:lnTo>
                  <a:pt x="816" y="246"/>
                </a:lnTo>
                <a:lnTo>
                  <a:pt x="816" y="258"/>
                </a:lnTo>
                <a:lnTo>
                  <a:pt x="810" y="264"/>
                </a:lnTo>
                <a:lnTo>
                  <a:pt x="816" y="276"/>
                </a:lnTo>
                <a:lnTo>
                  <a:pt x="816" y="282"/>
                </a:lnTo>
                <a:lnTo>
                  <a:pt x="810" y="288"/>
                </a:lnTo>
                <a:lnTo>
                  <a:pt x="816" y="300"/>
                </a:lnTo>
                <a:lnTo>
                  <a:pt x="822" y="306"/>
                </a:lnTo>
                <a:lnTo>
                  <a:pt x="840" y="294"/>
                </a:lnTo>
                <a:lnTo>
                  <a:pt x="846" y="312"/>
                </a:lnTo>
                <a:lnTo>
                  <a:pt x="840" y="324"/>
                </a:lnTo>
                <a:lnTo>
                  <a:pt x="852" y="324"/>
                </a:lnTo>
                <a:lnTo>
                  <a:pt x="858" y="324"/>
                </a:lnTo>
                <a:lnTo>
                  <a:pt x="858" y="336"/>
                </a:lnTo>
                <a:lnTo>
                  <a:pt x="858" y="348"/>
                </a:lnTo>
                <a:lnTo>
                  <a:pt x="858" y="354"/>
                </a:lnTo>
                <a:lnTo>
                  <a:pt x="864" y="360"/>
                </a:lnTo>
                <a:lnTo>
                  <a:pt x="870" y="360"/>
                </a:lnTo>
                <a:lnTo>
                  <a:pt x="882" y="372"/>
                </a:lnTo>
                <a:lnTo>
                  <a:pt x="888" y="390"/>
                </a:lnTo>
                <a:lnTo>
                  <a:pt x="900" y="384"/>
                </a:lnTo>
                <a:lnTo>
                  <a:pt x="906" y="384"/>
                </a:lnTo>
                <a:lnTo>
                  <a:pt x="912" y="384"/>
                </a:lnTo>
                <a:lnTo>
                  <a:pt x="906" y="360"/>
                </a:lnTo>
                <a:lnTo>
                  <a:pt x="906" y="348"/>
                </a:lnTo>
                <a:lnTo>
                  <a:pt x="900" y="342"/>
                </a:lnTo>
                <a:lnTo>
                  <a:pt x="894" y="336"/>
                </a:lnTo>
                <a:lnTo>
                  <a:pt x="900" y="324"/>
                </a:lnTo>
                <a:lnTo>
                  <a:pt x="900" y="312"/>
                </a:lnTo>
                <a:lnTo>
                  <a:pt x="888" y="306"/>
                </a:lnTo>
                <a:lnTo>
                  <a:pt x="900" y="300"/>
                </a:lnTo>
                <a:lnTo>
                  <a:pt x="894" y="294"/>
                </a:lnTo>
                <a:lnTo>
                  <a:pt x="900" y="288"/>
                </a:lnTo>
                <a:lnTo>
                  <a:pt x="912" y="282"/>
                </a:lnTo>
                <a:lnTo>
                  <a:pt x="918" y="288"/>
                </a:lnTo>
                <a:lnTo>
                  <a:pt x="930" y="282"/>
                </a:lnTo>
                <a:lnTo>
                  <a:pt x="936" y="288"/>
                </a:lnTo>
                <a:lnTo>
                  <a:pt x="936" y="294"/>
                </a:lnTo>
                <a:lnTo>
                  <a:pt x="954" y="270"/>
                </a:lnTo>
                <a:lnTo>
                  <a:pt x="948" y="264"/>
                </a:lnTo>
                <a:lnTo>
                  <a:pt x="948" y="252"/>
                </a:lnTo>
                <a:lnTo>
                  <a:pt x="954" y="240"/>
                </a:lnTo>
                <a:lnTo>
                  <a:pt x="954" y="234"/>
                </a:lnTo>
                <a:lnTo>
                  <a:pt x="948" y="228"/>
                </a:lnTo>
                <a:lnTo>
                  <a:pt x="948" y="222"/>
                </a:lnTo>
                <a:lnTo>
                  <a:pt x="948" y="216"/>
                </a:lnTo>
                <a:lnTo>
                  <a:pt x="942" y="210"/>
                </a:lnTo>
                <a:lnTo>
                  <a:pt x="966" y="186"/>
                </a:lnTo>
                <a:lnTo>
                  <a:pt x="978" y="168"/>
                </a:lnTo>
                <a:lnTo>
                  <a:pt x="996" y="174"/>
                </a:lnTo>
                <a:lnTo>
                  <a:pt x="1008" y="168"/>
                </a:lnTo>
                <a:lnTo>
                  <a:pt x="1026" y="150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72" name="Freeform 16"/>
          <p:cNvSpPr>
            <a:spLocks/>
          </p:cNvSpPr>
          <p:nvPr/>
        </p:nvSpPr>
        <p:spPr bwMode="gray">
          <a:xfrm>
            <a:off x="2513013" y="3217863"/>
            <a:ext cx="1289050" cy="1689100"/>
          </a:xfrm>
          <a:custGeom>
            <a:avLst/>
            <a:gdLst>
              <a:gd name="T0" fmla="*/ 60499 w 1338"/>
              <a:gd name="T1" fmla="*/ 7338 h 1758"/>
              <a:gd name="T2" fmla="*/ 63769 w 1338"/>
              <a:gd name="T3" fmla="*/ 12230 h 1758"/>
              <a:gd name="T4" fmla="*/ 71127 w 1338"/>
              <a:gd name="T5" fmla="*/ 19569 h 1758"/>
              <a:gd name="T6" fmla="*/ 69492 w 1338"/>
              <a:gd name="T7" fmla="*/ 23645 h 1758"/>
              <a:gd name="T8" fmla="*/ 74397 w 1338"/>
              <a:gd name="T9" fmla="*/ 30168 h 1758"/>
              <a:gd name="T10" fmla="*/ 79303 w 1338"/>
              <a:gd name="T11" fmla="*/ 33430 h 1758"/>
              <a:gd name="T12" fmla="*/ 84208 w 1338"/>
              <a:gd name="T13" fmla="*/ 39953 h 1758"/>
              <a:gd name="T14" fmla="*/ 86660 w 1338"/>
              <a:gd name="T15" fmla="*/ 47291 h 1758"/>
              <a:gd name="T16" fmla="*/ 84208 w 1338"/>
              <a:gd name="T17" fmla="*/ 57890 h 1758"/>
              <a:gd name="T18" fmla="*/ 93201 w 1338"/>
              <a:gd name="T19" fmla="*/ 72567 h 1758"/>
              <a:gd name="T20" fmla="*/ 94836 w 1338"/>
              <a:gd name="T21" fmla="*/ 79905 h 1758"/>
              <a:gd name="T22" fmla="*/ 97289 w 1338"/>
              <a:gd name="T23" fmla="*/ 88874 h 1758"/>
              <a:gd name="T24" fmla="*/ 94836 w 1338"/>
              <a:gd name="T25" fmla="*/ 97843 h 1758"/>
              <a:gd name="T26" fmla="*/ 90748 w 1338"/>
              <a:gd name="T27" fmla="*/ 102735 h 1758"/>
              <a:gd name="T28" fmla="*/ 85025 w 1338"/>
              <a:gd name="T29" fmla="*/ 108443 h 1758"/>
              <a:gd name="T30" fmla="*/ 80120 w 1338"/>
              <a:gd name="T31" fmla="*/ 114965 h 1758"/>
              <a:gd name="T32" fmla="*/ 77667 w 1338"/>
              <a:gd name="T33" fmla="*/ 121488 h 1758"/>
              <a:gd name="T34" fmla="*/ 70309 w 1338"/>
              <a:gd name="T35" fmla="*/ 125565 h 1758"/>
              <a:gd name="T36" fmla="*/ 68674 w 1338"/>
              <a:gd name="T37" fmla="*/ 121488 h 1758"/>
              <a:gd name="T38" fmla="*/ 65404 w 1338"/>
              <a:gd name="T39" fmla="*/ 119042 h 1758"/>
              <a:gd name="T40" fmla="*/ 56411 w 1338"/>
              <a:gd name="T41" fmla="*/ 116596 h 1758"/>
              <a:gd name="T42" fmla="*/ 53958 w 1338"/>
              <a:gd name="T43" fmla="*/ 119858 h 1758"/>
              <a:gd name="T44" fmla="*/ 49053 w 1338"/>
              <a:gd name="T45" fmla="*/ 121488 h 1758"/>
              <a:gd name="T46" fmla="*/ 44965 w 1338"/>
              <a:gd name="T47" fmla="*/ 115781 h 1758"/>
              <a:gd name="T48" fmla="*/ 43330 w 1338"/>
              <a:gd name="T49" fmla="*/ 117411 h 1758"/>
              <a:gd name="T50" fmla="*/ 40060 w 1338"/>
              <a:gd name="T51" fmla="*/ 117411 h 1758"/>
              <a:gd name="T52" fmla="*/ 34337 w 1338"/>
              <a:gd name="T53" fmla="*/ 114965 h 1758"/>
              <a:gd name="T54" fmla="*/ 30249 w 1338"/>
              <a:gd name="T55" fmla="*/ 118227 h 1758"/>
              <a:gd name="T56" fmla="*/ 24527 w 1338"/>
              <a:gd name="T57" fmla="*/ 113335 h 1758"/>
              <a:gd name="T58" fmla="*/ 23709 w 1338"/>
              <a:gd name="T59" fmla="*/ 101920 h 1758"/>
              <a:gd name="T60" fmla="*/ 22074 w 1338"/>
              <a:gd name="T61" fmla="*/ 93766 h 1758"/>
              <a:gd name="T62" fmla="*/ 23709 w 1338"/>
              <a:gd name="T63" fmla="*/ 88874 h 1758"/>
              <a:gd name="T64" fmla="*/ 26979 w 1338"/>
              <a:gd name="T65" fmla="*/ 85613 h 1758"/>
              <a:gd name="T66" fmla="*/ 22074 w 1338"/>
              <a:gd name="T67" fmla="*/ 79905 h 1758"/>
              <a:gd name="T68" fmla="*/ 23709 w 1338"/>
              <a:gd name="T69" fmla="*/ 74198 h 1758"/>
              <a:gd name="T70" fmla="*/ 19621 w 1338"/>
              <a:gd name="T71" fmla="*/ 69305 h 1758"/>
              <a:gd name="T72" fmla="*/ 21256 w 1338"/>
              <a:gd name="T73" fmla="*/ 64413 h 1758"/>
              <a:gd name="T74" fmla="*/ 17986 w 1338"/>
              <a:gd name="T75" fmla="*/ 57890 h 1758"/>
              <a:gd name="T76" fmla="*/ 15533 w 1338"/>
              <a:gd name="T77" fmla="*/ 53814 h 1758"/>
              <a:gd name="T78" fmla="*/ 8993 w 1338"/>
              <a:gd name="T79" fmla="*/ 54629 h 1758"/>
              <a:gd name="T80" fmla="*/ 4088 w 1338"/>
              <a:gd name="T81" fmla="*/ 50552 h 1758"/>
              <a:gd name="T82" fmla="*/ 1635 w 1338"/>
              <a:gd name="T83" fmla="*/ 48921 h 1758"/>
              <a:gd name="T84" fmla="*/ 1635 w 1338"/>
              <a:gd name="T85" fmla="*/ 44029 h 1758"/>
              <a:gd name="T86" fmla="*/ 4905 w 1338"/>
              <a:gd name="T87" fmla="*/ 38322 h 1758"/>
              <a:gd name="T88" fmla="*/ 5723 w 1338"/>
              <a:gd name="T89" fmla="*/ 33430 h 1758"/>
              <a:gd name="T90" fmla="*/ 6540 w 1338"/>
              <a:gd name="T91" fmla="*/ 26091 h 1758"/>
              <a:gd name="T92" fmla="*/ 11446 w 1338"/>
              <a:gd name="T93" fmla="*/ 25276 h 1758"/>
              <a:gd name="T94" fmla="*/ 13081 w 1338"/>
              <a:gd name="T95" fmla="*/ 21199 h 1758"/>
              <a:gd name="T96" fmla="*/ 17169 w 1338"/>
              <a:gd name="T97" fmla="*/ 24461 h 1758"/>
              <a:gd name="T98" fmla="*/ 22074 w 1338"/>
              <a:gd name="T99" fmla="*/ 26907 h 1758"/>
              <a:gd name="T100" fmla="*/ 26162 w 1338"/>
              <a:gd name="T101" fmla="*/ 28538 h 1758"/>
              <a:gd name="T102" fmla="*/ 30249 w 1338"/>
              <a:gd name="T103" fmla="*/ 26907 h 1758"/>
              <a:gd name="T104" fmla="*/ 30249 w 1338"/>
              <a:gd name="T105" fmla="*/ 22830 h 1758"/>
              <a:gd name="T106" fmla="*/ 35972 w 1338"/>
              <a:gd name="T107" fmla="*/ 19569 h 1758"/>
              <a:gd name="T108" fmla="*/ 38425 w 1338"/>
              <a:gd name="T109" fmla="*/ 14676 h 1758"/>
              <a:gd name="T110" fmla="*/ 40060 w 1338"/>
              <a:gd name="T111" fmla="*/ 11415 h 1758"/>
              <a:gd name="T112" fmla="*/ 44965 w 1338"/>
              <a:gd name="T113" fmla="*/ 11415 h 1758"/>
              <a:gd name="T114" fmla="*/ 40878 w 1338"/>
              <a:gd name="T115" fmla="*/ 5708 h 1758"/>
              <a:gd name="T116" fmla="*/ 47418 w 1338"/>
              <a:gd name="T117" fmla="*/ 3261 h 1758"/>
              <a:gd name="T118" fmla="*/ 50688 w 1338"/>
              <a:gd name="T119" fmla="*/ 1631 h 1758"/>
              <a:gd name="T120" fmla="*/ 57229 w 1338"/>
              <a:gd name="T121" fmla="*/ 815 h 17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338" h="1758">
                <a:moveTo>
                  <a:pt x="822" y="6"/>
                </a:moveTo>
                <a:lnTo>
                  <a:pt x="828" y="30"/>
                </a:lnTo>
                <a:lnTo>
                  <a:pt x="834" y="36"/>
                </a:lnTo>
                <a:lnTo>
                  <a:pt x="822" y="54"/>
                </a:lnTo>
                <a:lnTo>
                  <a:pt x="822" y="72"/>
                </a:lnTo>
                <a:lnTo>
                  <a:pt x="822" y="90"/>
                </a:lnTo>
                <a:lnTo>
                  <a:pt x="828" y="102"/>
                </a:lnTo>
                <a:lnTo>
                  <a:pt x="858" y="126"/>
                </a:lnTo>
                <a:lnTo>
                  <a:pt x="864" y="132"/>
                </a:lnTo>
                <a:lnTo>
                  <a:pt x="870" y="138"/>
                </a:lnTo>
                <a:lnTo>
                  <a:pt x="870" y="150"/>
                </a:lnTo>
                <a:lnTo>
                  <a:pt x="870" y="156"/>
                </a:lnTo>
                <a:lnTo>
                  <a:pt x="870" y="162"/>
                </a:lnTo>
                <a:lnTo>
                  <a:pt x="876" y="168"/>
                </a:lnTo>
                <a:lnTo>
                  <a:pt x="888" y="174"/>
                </a:lnTo>
                <a:lnTo>
                  <a:pt x="906" y="174"/>
                </a:lnTo>
                <a:lnTo>
                  <a:pt x="924" y="186"/>
                </a:lnTo>
                <a:lnTo>
                  <a:pt x="936" y="198"/>
                </a:lnTo>
                <a:lnTo>
                  <a:pt x="972" y="246"/>
                </a:lnTo>
                <a:lnTo>
                  <a:pt x="984" y="258"/>
                </a:lnTo>
                <a:lnTo>
                  <a:pt x="984" y="270"/>
                </a:lnTo>
                <a:lnTo>
                  <a:pt x="984" y="276"/>
                </a:lnTo>
                <a:lnTo>
                  <a:pt x="978" y="282"/>
                </a:lnTo>
                <a:lnTo>
                  <a:pt x="984" y="288"/>
                </a:lnTo>
                <a:lnTo>
                  <a:pt x="966" y="312"/>
                </a:lnTo>
                <a:lnTo>
                  <a:pt x="966" y="318"/>
                </a:lnTo>
                <a:lnTo>
                  <a:pt x="954" y="324"/>
                </a:lnTo>
                <a:lnTo>
                  <a:pt x="954" y="330"/>
                </a:lnTo>
                <a:lnTo>
                  <a:pt x="954" y="336"/>
                </a:lnTo>
                <a:lnTo>
                  <a:pt x="966" y="354"/>
                </a:lnTo>
                <a:lnTo>
                  <a:pt x="984" y="366"/>
                </a:lnTo>
                <a:lnTo>
                  <a:pt x="990" y="396"/>
                </a:lnTo>
                <a:lnTo>
                  <a:pt x="996" y="402"/>
                </a:lnTo>
                <a:lnTo>
                  <a:pt x="1014" y="408"/>
                </a:lnTo>
                <a:lnTo>
                  <a:pt x="1020" y="414"/>
                </a:lnTo>
                <a:lnTo>
                  <a:pt x="1026" y="414"/>
                </a:lnTo>
                <a:lnTo>
                  <a:pt x="1044" y="438"/>
                </a:lnTo>
                <a:lnTo>
                  <a:pt x="1044" y="444"/>
                </a:lnTo>
                <a:lnTo>
                  <a:pt x="1044" y="450"/>
                </a:lnTo>
                <a:lnTo>
                  <a:pt x="1062" y="432"/>
                </a:lnTo>
                <a:lnTo>
                  <a:pt x="1068" y="438"/>
                </a:lnTo>
                <a:lnTo>
                  <a:pt x="1086" y="462"/>
                </a:lnTo>
                <a:lnTo>
                  <a:pt x="1110" y="486"/>
                </a:lnTo>
                <a:lnTo>
                  <a:pt x="1104" y="510"/>
                </a:lnTo>
                <a:lnTo>
                  <a:pt x="1140" y="510"/>
                </a:lnTo>
                <a:lnTo>
                  <a:pt x="1140" y="522"/>
                </a:lnTo>
                <a:lnTo>
                  <a:pt x="1134" y="546"/>
                </a:lnTo>
                <a:lnTo>
                  <a:pt x="1152" y="558"/>
                </a:lnTo>
                <a:lnTo>
                  <a:pt x="1158" y="558"/>
                </a:lnTo>
                <a:lnTo>
                  <a:pt x="1164" y="546"/>
                </a:lnTo>
                <a:lnTo>
                  <a:pt x="1176" y="552"/>
                </a:lnTo>
                <a:lnTo>
                  <a:pt x="1188" y="558"/>
                </a:lnTo>
                <a:lnTo>
                  <a:pt x="1194" y="576"/>
                </a:lnTo>
                <a:lnTo>
                  <a:pt x="1194" y="594"/>
                </a:lnTo>
                <a:lnTo>
                  <a:pt x="1194" y="612"/>
                </a:lnTo>
                <a:lnTo>
                  <a:pt x="1188" y="654"/>
                </a:lnTo>
                <a:lnTo>
                  <a:pt x="1176" y="684"/>
                </a:lnTo>
                <a:lnTo>
                  <a:pt x="1164" y="702"/>
                </a:lnTo>
                <a:lnTo>
                  <a:pt x="1158" y="726"/>
                </a:lnTo>
                <a:lnTo>
                  <a:pt x="1158" y="756"/>
                </a:lnTo>
                <a:lnTo>
                  <a:pt x="1152" y="780"/>
                </a:lnTo>
                <a:lnTo>
                  <a:pt x="1152" y="792"/>
                </a:lnTo>
                <a:lnTo>
                  <a:pt x="1152" y="798"/>
                </a:lnTo>
                <a:lnTo>
                  <a:pt x="1158" y="822"/>
                </a:lnTo>
                <a:lnTo>
                  <a:pt x="1170" y="852"/>
                </a:lnTo>
                <a:lnTo>
                  <a:pt x="1182" y="882"/>
                </a:lnTo>
                <a:lnTo>
                  <a:pt x="1194" y="918"/>
                </a:lnTo>
                <a:lnTo>
                  <a:pt x="1206" y="942"/>
                </a:lnTo>
                <a:lnTo>
                  <a:pt x="1218" y="966"/>
                </a:lnTo>
                <a:lnTo>
                  <a:pt x="1278" y="1002"/>
                </a:lnTo>
                <a:lnTo>
                  <a:pt x="1302" y="1020"/>
                </a:lnTo>
                <a:lnTo>
                  <a:pt x="1308" y="1032"/>
                </a:lnTo>
                <a:lnTo>
                  <a:pt x="1308" y="1044"/>
                </a:lnTo>
                <a:lnTo>
                  <a:pt x="1314" y="1056"/>
                </a:lnTo>
                <a:lnTo>
                  <a:pt x="1308" y="1086"/>
                </a:lnTo>
                <a:lnTo>
                  <a:pt x="1302" y="1098"/>
                </a:lnTo>
                <a:lnTo>
                  <a:pt x="1302" y="1104"/>
                </a:lnTo>
                <a:lnTo>
                  <a:pt x="1302" y="1128"/>
                </a:lnTo>
                <a:lnTo>
                  <a:pt x="1302" y="1146"/>
                </a:lnTo>
                <a:lnTo>
                  <a:pt x="1308" y="1170"/>
                </a:lnTo>
                <a:lnTo>
                  <a:pt x="1326" y="1200"/>
                </a:lnTo>
                <a:lnTo>
                  <a:pt x="1332" y="1212"/>
                </a:lnTo>
                <a:lnTo>
                  <a:pt x="1338" y="1224"/>
                </a:lnTo>
                <a:lnTo>
                  <a:pt x="1338" y="1236"/>
                </a:lnTo>
                <a:lnTo>
                  <a:pt x="1332" y="1266"/>
                </a:lnTo>
                <a:lnTo>
                  <a:pt x="1326" y="1284"/>
                </a:lnTo>
                <a:lnTo>
                  <a:pt x="1326" y="1290"/>
                </a:lnTo>
                <a:lnTo>
                  <a:pt x="1320" y="1308"/>
                </a:lnTo>
                <a:lnTo>
                  <a:pt x="1308" y="1338"/>
                </a:lnTo>
                <a:lnTo>
                  <a:pt x="1302" y="1350"/>
                </a:lnTo>
                <a:lnTo>
                  <a:pt x="1302" y="1362"/>
                </a:lnTo>
                <a:lnTo>
                  <a:pt x="1302" y="1380"/>
                </a:lnTo>
                <a:lnTo>
                  <a:pt x="1284" y="1380"/>
                </a:lnTo>
                <a:lnTo>
                  <a:pt x="1272" y="1380"/>
                </a:lnTo>
                <a:lnTo>
                  <a:pt x="1272" y="1398"/>
                </a:lnTo>
                <a:lnTo>
                  <a:pt x="1260" y="1392"/>
                </a:lnTo>
                <a:lnTo>
                  <a:pt x="1230" y="1404"/>
                </a:lnTo>
                <a:lnTo>
                  <a:pt x="1248" y="1422"/>
                </a:lnTo>
                <a:lnTo>
                  <a:pt x="1236" y="1434"/>
                </a:lnTo>
                <a:lnTo>
                  <a:pt x="1230" y="1452"/>
                </a:lnTo>
                <a:lnTo>
                  <a:pt x="1230" y="1458"/>
                </a:lnTo>
                <a:lnTo>
                  <a:pt x="1224" y="1470"/>
                </a:lnTo>
                <a:lnTo>
                  <a:pt x="1218" y="1470"/>
                </a:lnTo>
                <a:lnTo>
                  <a:pt x="1194" y="1500"/>
                </a:lnTo>
                <a:lnTo>
                  <a:pt x="1170" y="1506"/>
                </a:lnTo>
                <a:lnTo>
                  <a:pt x="1158" y="1512"/>
                </a:lnTo>
                <a:lnTo>
                  <a:pt x="1146" y="1530"/>
                </a:lnTo>
                <a:lnTo>
                  <a:pt x="1152" y="1566"/>
                </a:lnTo>
                <a:lnTo>
                  <a:pt x="1128" y="1572"/>
                </a:lnTo>
                <a:lnTo>
                  <a:pt x="1110" y="1584"/>
                </a:lnTo>
                <a:lnTo>
                  <a:pt x="1104" y="1590"/>
                </a:lnTo>
                <a:lnTo>
                  <a:pt x="1098" y="1590"/>
                </a:lnTo>
                <a:lnTo>
                  <a:pt x="1080" y="1608"/>
                </a:lnTo>
                <a:lnTo>
                  <a:pt x="1062" y="1608"/>
                </a:lnTo>
                <a:lnTo>
                  <a:pt x="1038" y="1608"/>
                </a:lnTo>
                <a:lnTo>
                  <a:pt x="1056" y="1638"/>
                </a:lnTo>
                <a:lnTo>
                  <a:pt x="1074" y="1668"/>
                </a:lnTo>
                <a:lnTo>
                  <a:pt x="1068" y="1674"/>
                </a:lnTo>
                <a:lnTo>
                  <a:pt x="1068" y="1686"/>
                </a:lnTo>
                <a:lnTo>
                  <a:pt x="1062" y="1692"/>
                </a:lnTo>
                <a:lnTo>
                  <a:pt x="1044" y="1710"/>
                </a:lnTo>
                <a:lnTo>
                  <a:pt x="1032" y="1728"/>
                </a:lnTo>
                <a:lnTo>
                  <a:pt x="1020" y="1740"/>
                </a:lnTo>
                <a:lnTo>
                  <a:pt x="996" y="1752"/>
                </a:lnTo>
                <a:lnTo>
                  <a:pt x="978" y="1758"/>
                </a:lnTo>
                <a:lnTo>
                  <a:pt x="966" y="1746"/>
                </a:lnTo>
                <a:lnTo>
                  <a:pt x="960" y="1734"/>
                </a:lnTo>
                <a:lnTo>
                  <a:pt x="966" y="1728"/>
                </a:lnTo>
                <a:lnTo>
                  <a:pt x="960" y="1710"/>
                </a:lnTo>
                <a:lnTo>
                  <a:pt x="954" y="1704"/>
                </a:lnTo>
                <a:lnTo>
                  <a:pt x="948" y="1704"/>
                </a:lnTo>
                <a:lnTo>
                  <a:pt x="942" y="1686"/>
                </a:lnTo>
                <a:lnTo>
                  <a:pt x="948" y="1680"/>
                </a:lnTo>
                <a:lnTo>
                  <a:pt x="954" y="1662"/>
                </a:lnTo>
                <a:lnTo>
                  <a:pt x="942" y="1662"/>
                </a:lnTo>
                <a:lnTo>
                  <a:pt x="936" y="1656"/>
                </a:lnTo>
                <a:lnTo>
                  <a:pt x="930" y="1650"/>
                </a:lnTo>
                <a:lnTo>
                  <a:pt x="924" y="1650"/>
                </a:lnTo>
                <a:lnTo>
                  <a:pt x="918" y="1650"/>
                </a:lnTo>
                <a:lnTo>
                  <a:pt x="900" y="1650"/>
                </a:lnTo>
                <a:lnTo>
                  <a:pt x="894" y="1644"/>
                </a:lnTo>
                <a:lnTo>
                  <a:pt x="870" y="1638"/>
                </a:lnTo>
                <a:lnTo>
                  <a:pt x="852" y="1614"/>
                </a:lnTo>
                <a:lnTo>
                  <a:pt x="834" y="1584"/>
                </a:lnTo>
                <a:lnTo>
                  <a:pt x="810" y="1608"/>
                </a:lnTo>
                <a:lnTo>
                  <a:pt x="792" y="1620"/>
                </a:lnTo>
                <a:lnTo>
                  <a:pt x="774" y="1614"/>
                </a:lnTo>
                <a:lnTo>
                  <a:pt x="762" y="1620"/>
                </a:lnTo>
                <a:lnTo>
                  <a:pt x="768" y="1638"/>
                </a:lnTo>
                <a:lnTo>
                  <a:pt x="786" y="1650"/>
                </a:lnTo>
                <a:lnTo>
                  <a:pt x="774" y="1662"/>
                </a:lnTo>
                <a:lnTo>
                  <a:pt x="756" y="1662"/>
                </a:lnTo>
                <a:lnTo>
                  <a:pt x="744" y="1668"/>
                </a:lnTo>
                <a:lnTo>
                  <a:pt x="738" y="1662"/>
                </a:lnTo>
                <a:lnTo>
                  <a:pt x="720" y="1668"/>
                </a:lnTo>
                <a:lnTo>
                  <a:pt x="720" y="1674"/>
                </a:lnTo>
                <a:lnTo>
                  <a:pt x="720" y="1686"/>
                </a:lnTo>
                <a:lnTo>
                  <a:pt x="708" y="1686"/>
                </a:lnTo>
                <a:lnTo>
                  <a:pt x="708" y="1692"/>
                </a:lnTo>
                <a:lnTo>
                  <a:pt x="684" y="1686"/>
                </a:lnTo>
                <a:lnTo>
                  <a:pt x="672" y="1686"/>
                </a:lnTo>
                <a:lnTo>
                  <a:pt x="648" y="1680"/>
                </a:lnTo>
                <a:lnTo>
                  <a:pt x="654" y="1668"/>
                </a:lnTo>
                <a:lnTo>
                  <a:pt x="654" y="1632"/>
                </a:lnTo>
                <a:lnTo>
                  <a:pt x="654" y="1614"/>
                </a:lnTo>
                <a:lnTo>
                  <a:pt x="636" y="1584"/>
                </a:lnTo>
                <a:lnTo>
                  <a:pt x="630" y="1572"/>
                </a:lnTo>
                <a:lnTo>
                  <a:pt x="624" y="1608"/>
                </a:lnTo>
                <a:lnTo>
                  <a:pt x="636" y="1620"/>
                </a:lnTo>
                <a:lnTo>
                  <a:pt x="636" y="1632"/>
                </a:lnTo>
                <a:lnTo>
                  <a:pt x="624" y="1644"/>
                </a:lnTo>
                <a:lnTo>
                  <a:pt x="612" y="1632"/>
                </a:lnTo>
                <a:lnTo>
                  <a:pt x="612" y="1620"/>
                </a:lnTo>
                <a:lnTo>
                  <a:pt x="606" y="1614"/>
                </a:lnTo>
                <a:lnTo>
                  <a:pt x="600" y="1626"/>
                </a:lnTo>
                <a:lnTo>
                  <a:pt x="594" y="1620"/>
                </a:lnTo>
                <a:lnTo>
                  <a:pt x="594" y="1608"/>
                </a:lnTo>
                <a:lnTo>
                  <a:pt x="582" y="1608"/>
                </a:lnTo>
                <a:lnTo>
                  <a:pt x="576" y="1620"/>
                </a:lnTo>
                <a:lnTo>
                  <a:pt x="564" y="1632"/>
                </a:lnTo>
                <a:lnTo>
                  <a:pt x="558" y="1632"/>
                </a:lnTo>
                <a:lnTo>
                  <a:pt x="546" y="1626"/>
                </a:lnTo>
                <a:lnTo>
                  <a:pt x="522" y="1614"/>
                </a:lnTo>
                <a:lnTo>
                  <a:pt x="498" y="1614"/>
                </a:lnTo>
                <a:lnTo>
                  <a:pt x="492" y="1608"/>
                </a:lnTo>
                <a:lnTo>
                  <a:pt x="492" y="1596"/>
                </a:lnTo>
                <a:lnTo>
                  <a:pt x="492" y="1584"/>
                </a:lnTo>
                <a:lnTo>
                  <a:pt x="486" y="1584"/>
                </a:lnTo>
                <a:lnTo>
                  <a:pt x="474" y="1590"/>
                </a:lnTo>
                <a:lnTo>
                  <a:pt x="468" y="1590"/>
                </a:lnTo>
                <a:lnTo>
                  <a:pt x="462" y="1602"/>
                </a:lnTo>
                <a:lnTo>
                  <a:pt x="450" y="1614"/>
                </a:lnTo>
                <a:lnTo>
                  <a:pt x="438" y="1626"/>
                </a:lnTo>
                <a:lnTo>
                  <a:pt x="432" y="1620"/>
                </a:lnTo>
                <a:lnTo>
                  <a:pt x="426" y="1638"/>
                </a:lnTo>
                <a:lnTo>
                  <a:pt x="414" y="1644"/>
                </a:lnTo>
                <a:lnTo>
                  <a:pt x="408" y="1644"/>
                </a:lnTo>
                <a:lnTo>
                  <a:pt x="390" y="1650"/>
                </a:lnTo>
                <a:lnTo>
                  <a:pt x="366" y="1656"/>
                </a:lnTo>
                <a:lnTo>
                  <a:pt x="348" y="1662"/>
                </a:lnTo>
                <a:lnTo>
                  <a:pt x="342" y="1644"/>
                </a:lnTo>
                <a:lnTo>
                  <a:pt x="336" y="1590"/>
                </a:lnTo>
                <a:lnTo>
                  <a:pt x="336" y="1572"/>
                </a:lnTo>
                <a:lnTo>
                  <a:pt x="336" y="1548"/>
                </a:lnTo>
                <a:lnTo>
                  <a:pt x="330" y="1518"/>
                </a:lnTo>
                <a:lnTo>
                  <a:pt x="324" y="1500"/>
                </a:lnTo>
                <a:lnTo>
                  <a:pt x="348" y="1488"/>
                </a:lnTo>
                <a:lnTo>
                  <a:pt x="318" y="1470"/>
                </a:lnTo>
                <a:lnTo>
                  <a:pt x="336" y="1434"/>
                </a:lnTo>
                <a:lnTo>
                  <a:pt x="324" y="1410"/>
                </a:lnTo>
                <a:lnTo>
                  <a:pt x="306" y="1398"/>
                </a:lnTo>
                <a:lnTo>
                  <a:pt x="288" y="1380"/>
                </a:lnTo>
                <a:lnTo>
                  <a:pt x="288" y="1362"/>
                </a:lnTo>
                <a:lnTo>
                  <a:pt x="264" y="1344"/>
                </a:lnTo>
                <a:lnTo>
                  <a:pt x="282" y="1326"/>
                </a:lnTo>
                <a:lnTo>
                  <a:pt x="300" y="1308"/>
                </a:lnTo>
                <a:lnTo>
                  <a:pt x="306" y="1302"/>
                </a:lnTo>
                <a:lnTo>
                  <a:pt x="312" y="1296"/>
                </a:lnTo>
                <a:lnTo>
                  <a:pt x="318" y="1284"/>
                </a:lnTo>
                <a:lnTo>
                  <a:pt x="318" y="1278"/>
                </a:lnTo>
                <a:lnTo>
                  <a:pt x="324" y="1272"/>
                </a:lnTo>
                <a:lnTo>
                  <a:pt x="324" y="1260"/>
                </a:lnTo>
                <a:lnTo>
                  <a:pt x="324" y="1248"/>
                </a:lnTo>
                <a:lnTo>
                  <a:pt x="330" y="1230"/>
                </a:lnTo>
                <a:lnTo>
                  <a:pt x="342" y="1224"/>
                </a:lnTo>
                <a:lnTo>
                  <a:pt x="342" y="1212"/>
                </a:lnTo>
                <a:lnTo>
                  <a:pt x="348" y="1206"/>
                </a:lnTo>
                <a:lnTo>
                  <a:pt x="348" y="1200"/>
                </a:lnTo>
                <a:lnTo>
                  <a:pt x="354" y="1200"/>
                </a:lnTo>
                <a:lnTo>
                  <a:pt x="372" y="1188"/>
                </a:lnTo>
                <a:lnTo>
                  <a:pt x="372" y="1182"/>
                </a:lnTo>
                <a:lnTo>
                  <a:pt x="378" y="1176"/>
                </a:lnTo>
                <a:lnTo>
                  <a:pt x="342" y="1188"/>
                </a:lnTo>
                <a:lnTo>
                  <a:pt x="342" y="1176"/>
                </a:lnTo>
                <a:lnTo>
                  <a:pt x="336" y="1152"/>
                </a:lnTo>
                <a:lnTo>
                  <a:pt x="324" y="1146"/>
                </a:lnTo>
                <a:lnTo>
                  <a:pt x="312" y="1134"/>
                </a:lnTo>
                <a:lnTo>
                  <a:pt x="300" y="1110"/>
                </a:lnTo>
                <a:lnTo>
                  <a:pt x="294" y="1074"/>
                </a:lnTo>
                <a:lnTo>
                  <a:pt x="306" y="1062"/>
                </a:lnTo>
                <a:lnTo>
                  <a:pt x="318" y="1050"/>
                </a:lnTo>
                <a:lnTo>
                  <a:pt x="330" y="1050"/>
                </a:lnTo>
                <a:lnTo>
                  <a:pt x="336" y="1044"/>
                </a:lnTo>
                <a:lnTo>
                  <a:pt x="330" y="1038"/>
                </a:lnTo>
                <a:lnTo>
                  <a:pt x="324" y="1032"/>
                </a:lnTo>
                <a:lnTo>
                  <a:pt x="318" y="1026"/>
                </a:lnTo>
                <a:lnTo>
                  <a:pt x="318" y="1014"/>
                </a:lnTo>
                <a:lnTo>
                  <a:pt x="318" y="996"/>
                </a:lnTo>
                <a:lnTo>
                  <a:pt x="312" y="996"/>
                </a:lnTo>
                <a:lnTo>
                  <a:pt x="306" y="984"/>
                </a:lnTo>
                <a:lnTo>
                  <a:pt x="288" y="972"/>
                </a:lnTo>
                <a:lnTo>
                  <a:pt x="276" y="960"/>
                </a:lnTo>
                <a:lnTo>
                  <a:pt x="276" y="936"/>
                </a:lnTo>
                <a:lnTo>
                  <a:pt x="270" y="912"/>
                </a:lnTo>
                <a:lnTo>
                  <a:pt x="276" y="912"/>
                </a:lnTo>
                <a:lnTo>
                  <a:pt x="288" y="906"/>
                </a:lnTo>
                <a:lnTo>
                  <a:pt x="282" y="900"/>
                </a:lnTo>
                <a:lnTo>
                  <a:pt x="282" y="888"/>
                </a:lnTo>
                <a:lnTo>
                  <a:pt x="294" y="888"/>
                </a:lnTo>
                <a:lnTo>
                  <a:pt x="288" y="870"/>
                </a:lnTo>
                <a:lnTo>
                  <a:pt x="282" y="858"/>
                </a:lnTo>
                <a:lnTo>
                  <a:pt x="270" y="822"/>
                </a:lnTo>
                <a:lnTo>
                  <a:pt x="282" y="810"/>
                </a:lnTo>
                <a:lnTo>
                  <a:pt x="264" y="792"/>
                </a:lnTo>
                <a:lnTo>
                  <a:pt x="252" y="804"/>
                </a:lnTo>
                <a:lnTo>
                  <a:pt x="246" y="804"/>
                </a:lnTo>
                <a:lnTo>
                  <a:pt x="246" y="798"/>
                </a:lnTo>
                <a:lnTo>
                  <a:pt x="240" y="786"/>
                </a:lnTo>
                <a:lnTo>
                  <a:pt x="234" y="780"/>
                </a:lnTo>
                <a:lnTo>
                  <a:pt x="216" y="780"/>
                </a:lnTo>
                <a:lnTo>
                  <a:pt x="198" y="756"/>
                </a:lnTo>
                <a:lnTo>
                  <a:pt x="210" y="750"/>
                </a:lnTo>
                <a:lnTo>
                  <a:pt x="210" y="744"/>
                </a:lnTo>
                <a:lnTo>
                  <a:pt x="204" y="738"/>
                </a:lnTo>
                <a:lnTo>
                  <a:pt x="198" y="732"/>
                </a:lnTo>
                <a:lnTo>
                  <a:pt x="192" y="720"/>
                </a:lnTo>
                <a:lnTo>
                  <a:pt x="180" y="726"/>
                </a:lnTo>
                <a:lnTo>
                  <a:pt x="174" y="726"/>
                </a:lnTo>
                <a:lnTo>
                  <a:pt x="156" y="744"/>
                </a:lnTo>
                <a:lnTo>
                  <a:pt x="126" y="756"/>
                </a:lnTo>
                <a:lnTo>
                  <a:pt x="120" y="756"/>
                </a:lnTo>
                <a:lnTo>
                  <a:pt x="114" y="756"/>
                </a:lnTo>
                <a:lnTo>
                  <a:pt x="108" y="750"/>
                </a:lnTo>
                <a:lnTo>
                  <a:pt x="96" y="726"/>
                </a:lnTo>
                <a:lnTo>
                  <a:pt x="84" y="720"/>
                </a:lnTo>
                <a:lnTo>
                  <a:pt x="78" y="702"/>
                </a:lnTo>
                <a:lnTo>
                  <a:pt x="60" y="702"/>
                </a:lnTo>
                <a:lnTo>
                  <a:pt x="48" y="714"/>
                </a:lnTo>
                <a:lnTo>
                  <a:pt x="42" y="708"/>
                </a:lnTo>
                <a:lnTo>
                  <a:pt x="36" y="696"/>
                </a:lnTo>
                <a:lnTo>
                  <a:pt x="30" y="696"/>
                </a:lnTo>
                <a:lnTo>
                  <a:pt x="30" y="690"/>
                </a:lnTo>
                <a:lnTo>
                  <a:pt x="30" y="684"/>
                </a:lnTo>
                <a:lnTo>
                  <a:pt x="24" y="684"/>
                </a:lnTo>
                <a:lnTo>
                  <a:pt x="18" y="678"/>
                </a:lnTo>
                <a:lnTo>
                  <a:pt x="18" y="672"/>
                </a:lnTo>
                <a:lnTo>
                  <a:pt x="18" y="666"/>
                </a:lnTo>
                <a:lnTo>
                  <a:pt x="18" y="654"/>
                </a:lnTo>
                <a:lnTo>
                  <a:pt x="24" y="636"/>
                </a:lnTo>
                <a:lnTo>
                  <a:pt x="42" y="618"/>
                </a:lnTo>
                <a:lnTo>
                  <a:pt x="24" y="612"/>
                </a:lnTo>
                <a:lnTo>
                  <a:pt x="12" y="606"/>
                </a:lnTo>
                <a:lnTo>
                  <a:pt x="0" y="594"/>
                </a:lnTo>
                <a:lnTo>
                  <a:pt x="6" y="582"/>
                </a:lnTo>
                <a:lnTo>
                  <a:pt x="12" y="570"/>
                </a:lnTo>
                <a:lnTo>
                  <a:pt x="24" y="558"/>
                </a:lnTo>
                <a:lnTo>
                  <a:pt x="66" y="540"/>
                </a:lnTo>
                <a:lnTo>
                  <a:pt x="66" y="528"/>
                </a:lnTo>
                <a:lnTo>
                  <a:pt x="60" y="516"/>
                </a:lnTo>
                <a:lnTo>
                  <a:pt x="60" y="510"/>
                </a:lnTo>
                <a:lnTo>
                  <a:pt x="66" y="504"/>
                </a:lnTo>
                <a:lnTo>
                  <a:pt x="72" y="498"/>
                </a:lnTo>
                <a:lnTo>
                  <a:pt x="72" y="486"/>
                </a:lnTo>
                <a:lnTo>
                  <a:pt x="78" y="474"/>
                </a:lnTo>
                <a:lnTo>
                  <a:pt x="84" y="462"/>
                </a:lnTo>
                <a:lnTo>
                  <a:pt x="90" y="444"/>
                </a:lnTo>
                <a:lnTo>
                  <a:pt x="84" y="432"/>
                </a:lnTo>
                <a:lnTo>
                  <a:pt x="84" y="420"/>
                </a:lnTo>
                <a:lnTo>
                  <a:pt x="96" y="414"/>
                </a:lnTo>
                <a:lnTo>
                  <a:pt x="96" y="396"/>
                </a:lnTo>
                <a:lnTo>
                  <a:pt x="90" y="378"/>
                </a:lnTo>
                <a:lnTo>
                  <a:pt x="90" y="360"/>
                </a:lnTo>
                <a:lnTo>
                  <a:pt x="96" y="360"/>
                </a:lnTo>
                <a:lnTo>
                  <a:pt x="114" y="342"/>
                </a:lnTo>
                <a:lnTo>
                  <a:pt x="120" y="342"/>
                </a:lnTo>
                <a:lnTo>
                  <a:pt x="132" y="354"/>
                </a:lnTo>
                <a:lnTo>
                  <a:pt x="138" y="354"/>
                </a:lnTo>
                <a:lnTo>
                  <a:pt x="156" y="348"/>
                </a:lnTo>
                <a:lnTo>
                  <a:pt x="162" y="354"/>
                </a:lnTo>
                <a:lnTo>
                  <a:pt x="174" y="354"/>
                </a:lnTo>
                <a:lnTo>
                  <a:pt x="192" y="348"/>
                </a:lnTo>
                <a:lnTo>
                  <a:pt x="180" y="324"/>
                </a:lnTo>
                <a:lnTo>
                  <a:pt x="186" y="312"/>
                </a:lnTo>
                <a:lnTo>
                  <a:pt x="186" y="294"/>
                </a:lnTo>
                <a:lnTo>
                  <a:pt x="174" y="282"/>
                </a:lnTo>
                <a:lnTo>
                  <a:pt x="186" y="288"/>
                </a:lnTo>
                <a:lnTo>
                  <a:pt x="210" y="300"/>
                </a:lnTo>
                <a:lnTo>
                  <a:pt x="216" y="294"/>
                </a:lnTo>
                <a:lnTo>
                  <a:pt x="222" y="294"/>
                </a:lnTo>
                <a:lnTo>
                  <a:pt x="240" y="294"/>
                </a:lnTo>
                <a:lnTo>
                  <a:pt x="228" y="306"/>
                </a:lnTo>
                <a:lnTo>
                  <a:pt x="240" y="330"/>
                </a:lnTo>
                <a:lnTo>
                  <a:pt x="240" y="336"/>
                </a:lnTo>
                <a:lnTo>
                  <a:pt x="246" y="336"/>
                </a:lnTo>
                <a:lnTo>
                  <a:pt x="252" y="342"/>
                </a:lnTo>
                <a:lnTo>
                  <a:pt x="276" y="348"/>
                </a:lnTo>
                <a:lnTo>
                  <a:pt x="282" y="354"/>
                </a:lnTo>
                <a:lnTo>
                  <a:pt x="282" y="366"/>
                </a:lnTo>
                <a:lnTo>
                  <a:pt x="288" y="372"/>
                </a:lnTo>
                <a:lnTo>
                  <a:pt x="306" y="378"/>
                </a:lnTo>
                <a:lnTo>
                  <a:pt x="312" y="378"/>
                </a:lnTo>
                <a:lnTo>
                  <a:pt x="318" y="378"/>
                </a:lnTo>
                <a:lnTo>
                  <a:pt x="330" y="390"/>
                </a:lnTo>
                <a:lnTo>
                  <a:pt x="336" y="396"/>
                </a:lnTo>
                <a:lnTo>
                  <a:pt x="342" y="396"/>
                </a:lnTo>
                <a:lnTo>
                  <a:pt x="360" y="396"/>
                </a:lnTo>
                <a:lnTo>
                  <a:pt x="360" y="390"/>
                </a:lnTo>
                <a:lnTo>
                  <a:pt x="366" y="378"/>
                </a:lnTo>
                <a:lnTo>
                  <a:pt x="372" y="372"/>
                </a:lnTo>
                <a:lnTo>
                  <a:pt x="378" y="372"/>
                </a:lnTo>
                <a:lnTo>
                  <a:pt x="390" y="396"/>
                </a:lnTo>
                <a:lnTo>
                  <a:pt x="402" y="390"/>
                </a:lnTo>
                <a:lnTo>
                  <a:pt x="402" y="384"/>
                </a:lnTo>
                <a:lnTo>
                  <a:pt x="420" y="378"/>
                </a:lnTo>
                <a:lnTo>
                  <a:pt x="444" y="372"/>
                </a:lnTo>
                <a:lnTo>
                  <a:pt x="438" y="354"/>
                </a:lnTo>
                <a:lnTo>
                  <a:pt x="420" y="354"/>
                </a:lnTo>
                <a:lnTo>
                  <a:pt x="408" y="354"/>
                </a:lnTo>
                <a:lnTo>
                  <a:pt x="402" y="336"/>
                </a:lnTo>
                <a:lnTo>
                  <a:pt x="414" y="330"/>
                </a:lnTo>
                <a:lnTo>
                  <a:pt x="420" y="318"/>
                </a:lnTo>
                <a:lnTo>
                  <a:pt x="432" y="300"/>
                </a:lnTo>
                <a:lnTo>
                  <a:pt x="438" y="300"/>
                </a:lnTo>
                <a:lnTo>
                  <a:pt x="456" y="300"/>
                </a:lnTo>
                <a:lnTo>
                  <a:pt x="468" y="300"/>
                </a:lnTo>
                <a:lnTo>
                  <a:pt x="474" y="294"/>
                </a:lnTo>
                <a:lnTo>
                  <a:pt x="486" y="270"/>
                </a:lnTo>
                <a:lnTo>
                  <a:pt x="492" y="264"/>
                </a:lnTo>
                <a:lnTo>
                  <a:pt x="486" y="246"/>
                </a:lnTo>
                <a:lnTo>
                  <a:pt x="504" y="222"/>
                </a:lnTo>
                <a:lnTo>
                  <a:pt x="510" y="216"/>
                </a:lnTo>
                <a:lnTo>
                  <a:pt x="522" y="222"/>
                </a:lnTo>
                <a:lnTo>
                  <a:pt x="522" y="216"/>
                </a:lnTo>
                <a:lnTo>
                  <a:pt x="528" y="216"/>
                </a:lnTo>
                <a:lnTo>
                  <a:pt x="534" y="204"/>
                </a:lnTo>
                <a:lnTo>
                  <a:pt x="534" y="192"/>
                </a:lnTo>
                <a:lnTo>
                  <a:pt x="528" y="180"/>
                </a:lnTo>
                <a:lnTo>
                  <a:pt x="540" y="168"/>
                </a:lnTo>
                <a:lnTo>
                  <a:pt x="546" y="174"/>
                </a:lnTo>
                <a:lnTo>
                  <a:pt x="558" y="168"/>
                </a:lnTo>
                <a:lnTo>
                  <a:pt x="558" y="162"/>
                </a:lnTo>
                <a:lnTo>
                  <a:pt x="552" y="156"/>
                </a:lnTo>
                <a:lnTo>
                  <a:pt x="564" y="162"/>
                </a:lnTo>
                <a:lnTo>
                  <a:pt x="582" y="168"/>
                </a:lnTo>
                <a:lnTo>
                  <a:pt x="588" y="168"/>
                </a:lnTo>
                <a:lnTo>
                  <a:pt x="594" y="168"/>
                </a:lnTo>
                <a:lnTo>
                  <a:pt x="606" y="174"/>
                </a:lnTo>
                <a:lnTo>
                  <a:pt x="618" y="174"/>
                </a:lnTo>
                <a:lnTo>
                  <a:pt x="624" y="162"/>
                </a:lnTo>
                <a:lnTo>
                  <a:pt x="624" y="156"/>
                </a:lnTo>
                <a:lnTo>
                  <a:pt x="606" y="144"/>
                </a:lnTo>
                <a:lnTo>
                  <a:pt x="606" y="132"/>
                </a:lnTo>
                <a:lnTo>
                  <a:pt x="582" y="132"/>
                </a:lnTo>
                <a:lnTo>
                  <a:pt x="576" y="120"/>
                </a:lnTo>
                <a:lnTo>
                  <a:pt x="564" y="108"/>
                </a:lnTo>
                <a:lnTo>
                  <a:pt x="558" y="84"/>
                </a:lnTo>
                <a:lnTo>
                  <a:pt x="558" y="78"/>
                </a:lnTo>
                <a:lnTo>
                  <a:pt x="576" y="66"/>
                </a:lnTo>
                <a:lnTo>
                  <a:pt x="588" y="60"/>
                </a:lnTo>
                <a:lnTo>
                  <a:pt x="618" y="72"/>
                </a:lnTo>
                <a:lnTo>
                  <a:pt x="630" y="54"/>
                </a:lnTo>
                <a:lnTo>
                  <a:pt x="642" y="42"/>
                </a:lnTo>
                <a:lnTo>
                  <a:pt x="648" y="42"/>
                </a:lnTo>
                <a:lnTo>
                  <a:pt x="654" y="36"/>
                </a:lnTo>
                <a:lnTo>
                  <a:pt x="660" y="36"/>
                </a:lnTo>
                <a:lnTo>
                  <a:pt x="672" y="30"/>
                </a:lnTo>
                <a:lnTo>
                  <a:pt x="678" y="30"/>
                </a:lnTo>
                <a:lnTo>
                  <a:pt x="684" y="24"/>
                </a:lnTo>
                <a:lnTo>
                  <a:pt x="690" y="24"/>
                </a:lnTo>
                <a:lnTo>
                  <a:pt x="702" y="24"/>
                </a:lnTo>
                <a:lnTo>
                  <a:pt x="720" y="30"/>
                </a:lnTo>
                <a:lnTo>
                  <a:pt x="738" y="30"/>
                </a:lnTo>
                <a:lnTo>
                  <a:pt x="744" y="30"/>
                </a:lnTo>
                <a:lnTo>
                  <a:pt x="744" y="18"/>
                </a:lnTo>
                <a:lnTo>
                  <a:pt x="756" y="18"/>
                </a:lnTo>
                <a:lnTo>
                  <a:pt x="768" y="24"/>
                </a:lnTo>
                <a:lnTo>
                  <a:pt x="792" y="18"/>
                </a:lnTo>
                <a:lnTo>
                  <a:pt x="810" y="0"/>
                </a:lnTo>
                <a:lnTo>
                  <a:pt x="822" y="6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73" name="Freeform 17"/>
          <p:cNvSpPr>
            <a:spLocks/>
          </p:cNvSpPr>
          <p:nvPr/>
        </p:nvSpPr>
        <p:spPr bwMode="gray">
          <a:xfrm>
            <a:off x="2251075" y="2735263"/>
            <a:ext cx="1338263" cy="1065212"/>
          </a:xfrm>
          <a:custGeom>
            <a:avLst/>
            <a:gdLst>
              <a:gd name="T0" fmla="*/ 74521 w 1386"/>
              <a:gd name="T1" fmla="*/ 38387 h 1104"/>
              <a:gd name="T2" fmla="*/ 68788 w 1386"/>
              <a:gd name="T3" fmla="*/ 38387 h 1104"/>
              <a:gd name="T4" fmla="*/ 62237 w 1386"/>
              <a:gd name="T5" fmla="*/ 40021 h 1104"/>
              <a:gd name="T6" fmla="*/ 63875 w 1386"/>
              <a:gd name="T7" fmla="*/ 45738 h 1104"/>
              <a:gd name="T8" fmla="*/ 62237 w 1386"/>
              <a:gd name="T9" fmla="*/ 48189 h 1104"/>
              <a:gd name="T10" fmla="*/ 58961 w 1386"/>
              <a:gd name="T11" fmla="*/ 48189 h 1104"/>
              <a:gd name="T12" fmla="*/ 57324 w 1386"/>
              <a:gd name="T13" fmla="*/ 51456 h 1104"/>
              <a:gd name="T14" fmla="*/ 53229 w 1386"/>
              <a:gd name="T15" fmla="*/ 57990 h 1104"/>
              <a:gd name="T16" fmla="*/ 50772 w 1386"/>
              <a:gd name="T17" fmla="*/ 62073 h 1104"/>
              <a:gd name="T18" fmla="*/ 47497 w 1386"/>
              <a:gd name="T19" fmla="*/ 62890 h 1104"/>
              <a:gd name="T20" fmla="*/ 43402 w 1386"/>
              <a:gd name="T21" fmla="*/ 64524 h 1104"/>
              <a:gd name="T22" fmla="*/ 40127 w 1386"/>
              <a:gd name="T23" fmla="*/ 61257 h 1104"/>
              <a:gd name="T24" fmla="*/ 36032 w 1386"/>
              <a:gd name="T25" fmla="*/ 57173 h 1104"/>
              <a:gd name="T26" fmla="*/ 32756 w 1386"/>
              <a:gd name="T27" fmla="*/ 59623 h 1104"/>
              <a:gd name="T28" fmla="*/ 28662 w 1386"/>
              <a:gd name="T29" fmla="*/ 61257 h 1104"/>
              <a:gd name="T30" fmla="*/ 26205 w 1386"/>
              <a:gd name="T31" fmla="*/ 66974 h 1104"/>
              <a:gd name="T32" fmla="*/ 24567 w 1386"/>
              <a:gd name="T33" fmla="*/ 72691 h 1104"/>
              <a:gd name="T34" fmla="*/ 19654 w 1386"/>
              <a:gd name="T35" fmla="*/ 78408 h 1104"/>
              <a:gd name="T36" fmla="*/ 15559 w 1386"/>
              <a:gd name="T37" fmla="*/ 79225 h 1104"/>
              <a:gd name="T38" fmla="*/ 9827 w 1386"/>
              <a:gd name="T39" fmla="*/ 75958 h 1104"/>
              <a:gd name="T40" fmla="*/ 7370 w 1386"/>
              <a:gd name="T41" fmla="*/ 73508 h 1104"/>
              <a:gd name="T42" fmla="*/ 4095 w 1386"/>
              <a:gd name="T43" fmla="*/ 69424 h 1104"/>
              <a:gd name="T44" fmla="*/ 4913 w 1386"/>
              <a:gd name="T45" fmla="*/ 64524 h 1104"/>
              <a:gd name="T46" fmla="*/ 3276 w 1386"/>
              <a:gd name="T47" fmla="*/ 62073 h 1104"/>
              <a:gd name="T48" fmla="*/ 4095 w 1386"/>
              <a:gd name="T49" fmla="*/ 58806 h 1104"/>
              <a:gd name="T50" fmla="*/ 4913 w 1386"/>
              <a:gd name="T51" fmla="*/ 54723 h 1104"/>
              <a:gd name="T52" fmla="*/ 6551 w 1386"/>
              <a:gd name="T53" fmla="*/ 49822 h 1104"/>
              <a:gd name="T54" fmla="*/ 4095 w 1386"/>
              <a:gd name="T55" fmla="*/ 44105 h 1104"/>
              <a:gd name="T56" fmla="*/ 819 w 1386"/>
              <a:gd name="T57" fmla="*/ 36754 h 1104"/>
              <a:gd name="T58" fmla="*/ 819 w 1386"/>
              <a:gd name="T59" fmla="*/ 29403 h 1104"/>
              <a:gd name="T60" fmla="*/ 2457 w 1386"/>
              <a:gd name="T61" fmla="*/ 21236 h 1104"/>
              <a:gd name="T62" fmla="*/ 8189 w 1386"/>
              <a:gd name="T63" fmla="*/ 19602 h 1104"/>
              <a:gd name="T64" fmla="*/ 14740 w 1386"/>
              <a:gd name="T65" fmla="*/ 17969 h 1104"/>
              <a:gd name="T66" fmla="*/ 26205 w 1386"/>
              <a:gd name="T67" fmla="*/ 18785 h 1104"/>
              <a:gd name="T68" fmla="*/ 33575 w 1386"/>
              <a:gd name="T69" fmla="*/ 17969 h 1104"/>
              <a:gd name="T70" fmla="*/ 40945 w 1386"/>
              <a:gd name="T71" fmla="*/ 17969 h 1104"/>
              <a:gd name="T72" fmla="*/ 49953 w 1386"/>
              <a:gd name="T73" fmla="*/ 13885 h 1104"/>
              <a:gd name="T74" fmla="*/ 54048 w 1386"/>
              <a:gd name="T75" fmla="*/ 12251 h 1104"/>
              <a:gd name="T76" fmla="*/ 59780 w 1386"/>
              <a:gd name="T77" fmla="*/ 12251 h 1104"/>
              <a:gd name="T78" fmla="*/ 67150 w 1386"/>
              <a:gd name="T79" fmla="*/ 11435 h 1104"/>
              <a:gd name="T80" fmla="*/ 77796 w 1386"/>
              <a:gd name="T81" fmla="*/ 6534 h 1104"/>
              <a:gd name="T82" fmla="*/ 80253 w 1386"/>
              <a:gd name="T83" fmla="*/ 817 h 1104"/>
              <a:gd name="T84" fmla="*/ 85985 w 1386"/>
              <a:gd name="T85" fmla="*/ 0 h 1104"/>
              <a:gd name="T86" fmla="*/ 93356 w 1386"/>
              <a:gd name="T87" fmla="*/ 817 h 1104"/>
              <a:gd name="T88" fmla="*/ 97450 w 1386"/>
              <a:gd name="T89" fmla="*/ 5717 h 1104"/>
              <a:gd name="T90" fmla="*/ 98269 w 1386"/>
              <a:gd name="T91" fmla="*/ 9801 h 1104"/>
              <a:gd name="T92" fmla="*/ 99907 w 1386"/>
              <a:gd name="T93" fmla="*/ 14702 h 1104"/>
              <a:gd name="T94" fmla="*/ 95812 w 1386"/>
              <a:gd name="T95" fmla="*/ 14702 h 1104"/>
              <a:gd name="T96" fmla="*/ 93356 w 1386"/>
              <a:gd name="T97" fmla="*/ 17152 h 1104"/>
              <a:gd name="T98" fmla="*/ 94174 w 1386"/>
              <a:gd name="T99" fmla="*/ 21236 h 1104"/>
              <a:gd name="T100" fmla="*/ 90899 w 1386"/>
              <a:gd name="T101" fmla="*/ 24503 h 1104"/>
              <a:gd name="T102" fmla="*/ 86804 w 1386"/>
              <a:gd name="T103" fmla="*/ 22869 h 1104"/>
              <a:gd name="T104" fmla="*/ 85985 w 1386"/>
              <a:gd name="T105" fmla="*/ 25319 h 1104"/>
              <a:gd name="T106" fmla="*/ 83529 w 1386"/>
              <a:gd name="T107" fmla="*/ 29403 h 1104"/>
              <a:gd name="T108" fmla="*/ 81072 w 1386"/>
              <a:gd name="T109" fmla="*/ 33487 h 1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86" h="1104">
                <a:moveTo>
                  <a:pt x="1092" y="504"/>
                </a:moveTo>
                <a:lnTo>
                  <a:pt x="1080" y="498"/>
                </a:lnTo>
                <a:lnTo>
                  <a:pt x="1062" y="516"/>
                </a:lnTo>
                <a:lnTo>
                  <a:pt x="1038" y="522"/>
                </a:lnTo>
                <a:lnTo>
                  <a:pt x="1026" y="516"/>
                </a:lnTo>
                <a:lnTo>
                  <a:pt x="1014" y="516"/>
                </a:lnTo>
                <a:lnTo>
                  <a:pt x="1014" y="528"/>
                </a:lnTo>
                <a:lnTo>
                  <a:pt x="1008" y="528"/>
                </a:lnTo>
                <a:lnTo>
                  <a:pt x="990" y="528"/>
                </a:lnTo>
                <a:lnTo>
                  <a:pt x="972" y="522"/>
                </a:lnTo>
                <a:lnTo>
                  <a:pt x="960" y="522"/>
                </a:lnTo>
                <a:lnTo>
                  <a:pt x="954" y="522"/>
                </a:lnTo>
                <a:lnTo>
                  <a:pt x="948" y="528"/>
                </a:lnTo>
                <a:lnTo>
                  <a:pt x="942" y="528"/>
                </a:lnTo>
                <a:lnTo>
                  <a:pt x="930" y="534"/>
                </a:lnTo>
                <a:lnTo>
                  <a:pt x="924" y="534"/>
                </a:lnTo>
                <a:lnTo>
                  <a:pt x="918" y="540"/>
                </a:lnTo>
                <a:lnTo>
                  <a:pt x="912" y="540"/>
                </a:lnTo>
                <a:lnTo>
                  <a:pt x="900" y="552"/>
                </a:lnTo>
                <a:lnTo>
                  <a:pt x="888" y="570"/>
                </a:lnTo>
                <a:lnTo>
                  <a:pt x="858" y="558"/>
                </a:lnTo>
                <a:lnTo>
                  <a:pt x="846" y="564"/>
                </a:lnTo>
                <a:lnTo>
                  <a:pt x="828" y="576"/>
                </a:lnTo>
                <a:lnTo>
                  <a:pt x="828" y="582"/>
                </a:lnTo>
                <a:lnTo>
                  <a:pt x="834" y="606"/>
                </a:lnTo>
                <a:lnTo>
                  <a:pt x="846" y="618"/>
                </a:lnTo>
                <a:lnTo>
                  <a:pt x="852" y="630"/>
                </a:lnTo>
                <a:lnTo>
                  <a:pt x="876" y="630"/>
                </a:lnTo>
                <a:lnTo>
                  <a:pt x="876" y="642"/>
                </a:lnTo>
                <a:lnTo>
                  <a:pt x="894" y="654"/>
                </a:lnTo>
                <a:lnTo>
                  <a:pt x="894" y="660"/>
                </a:lnTo>
                <a:lnTo>
                  <a:pt x="888" y="672"/>
                </a:lnTo>
                <a:lnTo>
                  <a:pt x="876" y="672"/>
                </a:lnTo>
                <a:lnTo>
                  <a:pt x="864" y="666"/>
                </a:lnTo>
                <a:lnTo>
                  <a:pt x="858" y="666"/>
                </a:lnTo>
                <a:lnTo>
                  <a:pt x="852" y="666"/>
                </a:lnTo>
                <a:lnTo>
                  <a:pt x="834" y="660"/>
                </a:lnTo>
                <a:lnTo>
                  <a:pt x="822" y="654"/>
                </a:lnTo>
                <a:lnTo>
                  <a:pt x="828" y="660"/>
                </a:lnTo>
                <a:lnTo>
                  <a:pt x="828" y="666"/>
                </a:lnTo>
                <a:lnTo>
                  <a:pt x="816" y="672"/>
                </a:lnTo>
                <a:lnTo>
                  <a:pt x="810" y="666"/>
                </a:lnTo>
                <a:lnTo>
                  <a:pt x="798" y="678"/>
                </a:lnTo>
                <a:lnTo>
                  <a:pt x="804" y="690"/>
                </a:lnTo>
                <a:lnTo>
                  <a:pt x="804" y="702"/>
                </a:lnTo>
                <a:lnTo>
                  <a:pt x="798" y="714"/>
                </a:lnTo>
                <a:lnTo>
                  <a:pt x="792" y="714"/>
                </a:lnTo>
                <a:lnTo>
                  <a:pt x="792" y="720"/>
                </a:lnTo>
                <a:lnTo>
                  <a:pt x="780" y="714"/>
                </a:lnTo>
                <a:lnTo>
                  <a:pt x="774" y="720"/>
                </a:lnTo>
                <a:lnTo>
                  <a:pt x="756" y="744"/>
                </a:lnTo>
                <a:lnTo>
                  <a:pt x="762" y="762"/>
                </a:lnTo>
                <a:lnTo>
                  <a:pt x="756" y="768"/>
                </a:lnTo>
                <a:lnTo>
                  <a:pt x="744" y="792"/>
                </a:lnTo>
                <a:lnTo>
                  <a:pt x="738" y="798"/>
                </a:lnTo>
                <a:lnTo>
                  <a:pt x="726" y="798"/>
                </a:lnTo>
                <a:lnTo>
                  <a:pt x="708" y="798"/>
                </a:lnTo>
                <a:lnTo>
                  <a:pt x="702" y="798"/>
                </a:lnTo>
                <a:lnTo>
                  <a:pt x="690" y="816"/>
                </a:lnTo>
                <a:lnTo>
                  <a:pt x="684" y="828"/>
                </a:lnTo>
                <a:lnTo>
                  <a:pt x="672" y="834"/>
                </a:lnTo>
                <a:lnTo>
                  <a:pt x="678" y="852"/>
                </a:lnTo>
                <a:lnTo>
                  <a:pt x="690" y="852"/>
                </a:lnTo>
                <a:lnTo>
                  <a:pt x="708" y="852"/>
                </a:lnTo>
                <a:lnTo>
                  <a:pt x="714" y="870"/>
                </a:lnTo>
                <a:lnTo>
                  <a:pt x="690" y="876"/>
                </a:lnTo>
                <a:lnTo>
                  <a:pt x="672" y="882"/>
                </a:lnTo>
                <a:lnTo>
                  <a:pt x="672" y="888"/>
                </a:lnTo>
                <a:lnTo>
                  <a:pt x="660" y="894"/>
                </a:lnTo>
                <a:lnTo>
                  <a:pt x="648" y="870"/>
                </a:lnTo>
                <a:lnTo>
                  <a:pt x="642" y="870"/>
                </a:lnTo>
                <a:lnTo>
                  <a:pt x="636" y="876"/>
                </a:lnTo>
                <a:lnTo>
                  <a:pt x="630" y="888"/>
                </a:lnTo>
                <a:lnTo>
                  <a:pt x="630" y="894"/>
                </a:lnTo>
                <a:lnTo>
                  <a:pt x="612" y="894"/>
                </a:lnTo>
                <a:lnTo>
                  <a:pt x="606" y="894"/>
                </a:lnTo>
                <a:lnTo>
                  <a:pt x="600" y="888"/>
                </a:lnTo>
                <a:lnTo>
                  <a:pt x="588" y="876"/>
                </a:lnTo>
                <a:lnTo>
                  <a:pt x="582" y="876"/>
                </a:lnTo>
                <a:lnTo>
                  <a:pt x="576" y="876"/>
                </a:lnTo>
                <a:lnTo>
                  <a:pt x="558" y="870"/>
                </a:lnTo>
                <a:lnTo>
                  <a:pt x="552" y="864"/>
                </a:lnTo>
                <a:lnTo>
                  <a:pt x="552" y="852"/>
                </a:lnTo>
                <a:lnTo>
                  <a:pt x="546" y="846"/>
                </a:lnTo>
                <a:lnTo>
                  <a:pt x="522" y="840"/>
                </a:lnTo>
                <a:lnTo>
                  <a:pt x="516" y="834"/>
                </a:lnTo>
                <a:lnTo>
                  <a:pt x="510" y="834"/>
                </a:lnTo>
                <a:lnTo>
                  <a:pt x="510" y="828"/>
                </a:lnTo>
                <a:lnTo>
                  <a:pt x="498" y="804"/>
                </a:lnTo>
                <a:lnTo>
                  <a:pt x="510" y="792"/>
                </a:lnTo>
                <a:lnTo>
                  <a:pt x="492" y="792"/>
                </a:lnTo>
                <a:lnTo>
                  <a:pt x="486" y="792"/>
                </a:lnTo>
                <a:lnTo>
                  <a:pt x="480" y="798"/>
                </a:lnTo>
                <a:lnTo>
                  <a:pt x="456" y="786"/>
                </a:lnTo>
                <a:lnTo>
                  <a:pt x="444" y="780"/>
                </a:lnTo>
                <a:lnTo>
                  <a:pt x="456" y="792"/>
                </a:lnTo>
                <a:lnTo>
                  <a:pt x="456" y="810"/>
                </a:lnTo>
                <a:lnTo>
                  <a:pt x="450" y="822"/>
                </a:lnTo>
                <a:lnTo>
                  <a:pt x="462" y="846"/>
                </a:lnTo>
                <a:lnTo>
                  <a:pt x="444" y="852"/>
                </a:lnTo>
                <a:lnTo>
                  <a:pt x="432" y="852"/>
                </a:lnTo>
                <a:lnTo>
                  <a:pt x="426" y="846"/>
                </a:lnTo>
                <a:lnTo>
                  <a:pt x="408" y="852"/>
                </a:lnTo>
                <a:lnTo>
                  <a:pt x="402" y="852"/>
                </a:lnTo>
                <a:lnTo>
                  <a:pt x="390" y="840"/>
                </a:lnTo>
                <a:lnTo>
                  <a:pt x="384" y="840"/>
                </a:lnTo>
                <a:lnTo>
                  <a:pt x="366" y="858"/>
                </a:lnTo>
                <a:lnTo>
                  <a:pt x="360" y="858"/>
                </a:lnTo>
                <a:lnTo>
                  <a:pt x="360" y="876"/>
                </a:lnTo>
                <a:lnTo>
                  <a:pt x="366" y="894"/>
                </a:lnTo>
                <a:lnTo>
                  <a:pt x="366" y="912"/>
                </a:lnTo>
                <a:lnTo>
                  <a:pt x="354" y="918"/>
                </a:lnTo>
                <a:lnTo>
                  <a:pt x="354" y="930"/>
                </a:lnTo>
                <a:lnTo>
                  <a:pt x="360" y="942"/>
                </a:lnTo>
                <a:lnTo>
                  <a:pt x="354" y="960"/>
                </a:lnTo>
                <a:lnTo>
                  <a:pt x="348" y="972"/>
                </a:lnTo>
                <a:lnTo>
                  <a:pt x="342" y="984"/>
                </a:lnTo>
                <a:lnTo>
                  <a:pt x="342" y="996"/>
                </a:lnTo>
                <a:lnTo>
                  <a:pt x="336" y="1002"/>
                </a:lnTo>
                <a:lnTo>
                  <a:pt x="330" y="1008"/>
                </a:lnTo>
                <a:lnTo>
                  <a:pt x="330" y="1014"/>
                </a:lnTo>
                <a:lnTo>
                  <a:pt x="336" y="1026"/>
                </a:lnTo>
                <a:lnTo>
                  <a:pt x="336" y="1038"/>
                </a:lnTo>
                <a:lnTo>
                  <a:pt x="294" y="1056"/>
                </a:lnTo>
                <a:lnTo>
                  <a:pt x="282" y="1068"/>
                </a:lnTo>
                <a:lnTo>
                  <a:pt x="276" y="1080"/>
                </a:lnTo>
                <a:lnTo>
                  <a:pt x="270" y="1092"/>
                </a:lnTo>
                <a:lnTo>
                  <a:pt x="264" y="1098"/>
                </a:lnTo>
                <a:lnTo>
                  <a:pt x="252" y="1098"/>
                </a:lnTo>
                <a:lnTo>
                  <a:pt x="240" y="1092"/>
                </a:lnTo>
                <a:lnTo>
                  <a:pt x="234" y="1098"/>
                </a:lnTo>
                <a:lnTo>
                  <a:pt x="210" y="1104"/>
                </a:lnTo>
                <a:lnTo>
                  <a:pt x="210" y="1098"/>
                </a:lnTo>
                <a:lnTo>
                  <a:pt x="192" y="1092"/>
                </a:lnTo>
                <a:lnTo>
                  <a:pt x="186" y="1092"/>
                </a:lnTo>
                <a:lnTo>
                  <a:pt x="180" y="1098"/>
                </a:lnTo>
                <a:lnTo>
                  <a:pt x="174" y="1086"/>
                </a:lnTo>
                <a:lnTo>
                  <a:pt x="156" y="1062"/>
                </a:lnTo>
                <a:lnTo>
                  <a:pt x="150" y="1056"/>
                </a:lnTo>
                <a:lnTo>
                  <a:pt x="138" y="1044"/>
                </a:lnTo>
                <a:lnTo>
                  <a:pt x="150" y="1038"/>
                </a:lnTo>
                <a:lnTo>
                  <a:pt x="150" y="1032"/>
                </a:lnTo>
                <a:lnTo>
                  <a:pt x="138" y="1008"/>
                </a:lnTo>
                <a:lnTo>
                  <a:pt x="126" y="1014"/>
                </a:lnTo>
                <a:lnTo>
                  <a:pt x="120" y="1014"/>
                </a:lnTo>
                <a:lnTo>
                  <a:pt x="120" y="1008"/>
                </a:lnTo>
                <a:lnTo>
                  <a:pt x="102" y="1014"/>
                </a:lnTo>
                <a:lnTo>
                  <a:pt x="84" y="1026"/>
                </a:lnTo>
                <a:lnTo>
                  <a:pt x="60" y="1008"/>
                </a:lnTo>
                <a:lnTo>
                  <a:pt x="48" y="996"/>
                </a:lnTo>
                <a:lnTo>
                  <a:pt x="54" y="990"/>
                </a:lnTo>
                <a:lnTo>
                  <a:pt x="54" y="984"/>
                </a:lnTo>
                <a:lnTo>
                  <a:pt x="54" y="972"/>
                </a:lnTo>
                <a:lnTo>
                  <a:pt x="54" y="960"/>
                </a:lnTo>
                <a:lnTo>
                  <a:pt x="54" y="954"/>
                </a:lnTo>
                <a:lnTo>
                  <a:pt x="60" y="936"/>
                </a:lnTo>
                <a:lnTo>
                  <a:pt x="66" y="930"/>
                </a:lnTo>
                <a:lnTo>
                  <a:pt x="72" y="924"/>
                </a:lnTo>
                <a:lnTo>
                  <a:pt x="66" y="924"/>
                </a:lnTo>
                <a:lnTo>
                  <a:pt x="60" y="918"/>
                </a:lnTo>
                <a:lnTo>
                  <a:pt x="66" y="894"/>
                </a:lnTo>
                <a:lnTo>
                  <a:pt x="60" y="888"/>
                </a:lnTo>
                <a:lnTo>
                  <a:pt x="48" y="894"/>
                </a:lnTo>
                <a:lnTo>
                  <a:pt x="48" y="888"/>
                </a:lnTo>
                <a:lnTo>
                  <a:pt x="48" y="882"/>
                </a:lnTo>
                <a:lnTo>
                  <a:pt x="48" y="870"/>
                </a:lnTo>
                <a:lnTo>
                  <a:pt x="48" y="864"/>
                </a:lnTo>
                <a:lnTo>
                  <a:pt x="48" y="858"/>
                </a:lnTo>
                <a:lnTo>
                  <a:pt x="54" y="852"/>
                </a:lnTo>
                <a:lnTo>
                  <a:pt x="48" y="840"/>
                </a:lnTo>
                <a:lnTo>
                  <a:pt x="48" y="834"/>
                </a:lnTo>
                <a:lnTo>
                  <a:pt x="42" y="834"/>
                </a:lnTo>
                <a:lnTo>
                  <a:pt x="36" y="828"/>
                </a:lnTo>
                <a:lnTo>
                  <a:pt x="42" y="828"/>
                </a:lnTo>
                <a:lnTo>
                  <a:pt x="54" y="816"/>
                </a:lnTo>
                <a:lnTo>
                  <a:pt x="60" y="804"/>
                </a:lnTo>
                <a:lnTo>
                  <a:pt x="60" y="798"/>
                </a:lnTo>
                <a:lnTo>
                  <a:pt x="66" y="786"/>
                </a:lnTo>
                <a:lnTo>
                  <a:pt x="84" y="786"/>
                </a:lnTo>
                <a:lnTo>
                  <a:pt x="84" y="768"/>
                </a:lnTo>
                <a:lnTo>
                  <a:pt x="78" y="756"/>
                </a:lnTo>
                <a:lnTo>
                  <a:pt x="66" y="750"/>
                </a:lnTo>
                <a:lnTo>
                  <a:pt x="54" y="744"/>
                </a:lnTo>
                <a:lnTo>
                  <a:pt x="48" y="732"/>
                </a:lnTo>
                <a:lnTo>
                  <a:pt x="42" y="714"/>
                </a:lnTo>
                <a:lnTo>
                  <a:pt x="48" y="702"/>
                </a:lnTo>
                <a:lnTo>
                  <a:pt x="72" y="702"/>
                </a:lnTo>
                <a:lnTo>
                  <a:pt x="84" y="696"/>
                </a:lnTo>
                <a:lnTo>
                  <a:pt x="90" y="690"/>
                </a:lnTo>
                <a:lnTo>
                  <a:pt x="108" y="666"/>
                </a:lnTo>
                <a:lnTo>
                  <a:pt x="90" y="654"/>
                </a:lnTo>
                <a:lnTo>
                  <a:pt x="78" y="666"/>
                </a:lnTo>
                <a:lnTo>
                  <a:pt x="66" y="654"/>
                </a:lnTo>
                <a:lnTo>
                  <a:pt x="72" y="630"/>
                </a:lnTo>
                <a:lnTo>
                  <a:pt x="78" y="618"/>
                </a:lnTo>
                <a:lnTo>
                  <a:pt x="60" y="606"/>
                </a:lnTo>
                <a:lnTo>
                  <a:pt x="72" y="576"/>
                </a:lnTo>
                <a:lnTo>
                  <a:pt x="72" y="540"/>
                </a:lnTo>
                <a:lnTo>
                  <a:pt x="66" y="540"/>
                </a:lnTo>
                <a:lnTo>
                  <a:pt x="48" y="540"/>
                </a:lnTo>
                <a:lnTo>
                  <a:pt x="36" y="528"/>
                </a:lnTo>
                <a:lnTo>
                  <a:pt x="18" y="528"/>
                </a:lnTo>
                <a:lnTo>
                  <a:pt x="6" y="510"/>
                </a:lnTo>
                <a:lnTo>
                  <a:pt x="6" y="492"/>
                </a:lnTo>
                <a:lnTo>
                  <a:pt x="6" y="486"/>
                </a:lnTo>
                <a:lnTo>
                  <a:pt x="18" y="438"/>
                </a:lnTo>
                <a:lnTo>
                  <a:pt x="18" y="432"/>
                </a:lnTo>
                <a:lnTo>
                  <a:pt x="12" y="420"/>
                </a:lnTo>
                <a:lnTo>
                  <a:pt x="6" y="414"/>
                </a:lnTo>
                <a:lnTo>
                  <a:pt x="6" y="402"/>
                </a:lnTo>
                <a:lnTo>
                  <a:pt x="12" y="360"/>
                </a:lnTo>
                <a:lnTo>
                  <a:pt x="12" y="324"/>
                </a:lnTo>
                <a:lnTo>
                  <a:pt x="6" y="306"/>
                </a:lnTo>
                <a:lnTo>
                  <a:pt x="0" y="294"/>
                </a:lnTo>
                <a:lnTo>
                  <a:pt x="6" y="294"/>
                </a:lnTo>
                <a:lnTo>
                  <a:pt x="30" y="288"/>
                </a:lnTo>
                <a:lnTo>
                  <a:pt x="36" y="288"/>
                </a:lnTo>
                <a:lnTo>
                  <a:pt x="48" y="288"/>
                </a:lnTo>
                <a:lnTo>
                  <a:pt x="60" y="270"/>
                </a:lnTo>
                <a:lnTo>
                  <a:pt x="66" y="264"/>
                </a:lnTo>
                <a:lnTo>
                  <a:pt x="78" y="258"/>
                </a:lnTo>
                <a:lnTo>
                  <a:pt x="96" y="264"/>
                </a:lnTo>
                <a:lnTo>
                  <a:pt x="102" y="264"/>
                </a:lnTo>
                <a:lnTo>
                  <a:pt x="108" y="270"/>
                </a:lnTo>
                <a:lnTo>
                  <a:pt x="114" y="276"/>
                </a:lnTo>
                <a:lnTo>
                  <a:pt x="120" y="276"/>
                </a:lnTo>
                <a:lnTo>
                  <a:pt x="138" y="264"/>
                </a:lnTo>
                <a:lnTo>
                  <a:pt x="144" y="258"/>
                </a:lnTo>
                <a:lnTo>
                  <a:pt x="150" y="258"/>
                </a:lnTo>
                <a:lnTo>
                  <a:pt x="162" y="252"/>
                </a:lnTo>
                <a:lnTo>
                  <a:pt x="204" y="246"/>
                </a:lnTo>
                <a:lnTo>
                  <a:pt x="228" y="240"/>
                </a:lnTo>
                <a:lnTo>
                  <a:pt x="264" y="246"/>
                </a:lnTo>
                <a:lnTo>
                  <a:pt x="300" y="246"/>
                </a:lnTo>
                <a:lnTo>
                  <a:pt x="324" y="252"/>
                </a:lnTo>
                <a:lnTo>
                  <a:pt x="330" y="252"/>
                </a:lnTo>
                <a:lnTo>
                  <a:pt x="348" y="258"/>
                </a:lnTo>
                <a:lnTo>
                  <a:pt x="360" y="258"/>
                </a:lnTo>
                <a:lnTo>
                  <a:pt x="378" y="258"/>
                </a:lnTo>
                <a:lnTo>
                  <a:pt x="396" y="252"/>
                </a:lnTo>
                <a:lnTo>
                  <a:pt x="420" y="246"/>
                </a:lnTo>
                <a:lnTo>
                  <a:pt x="432" y="246"/>
                </a:lnTo>
                <a:lnTo>
                  <a:pt x="444" y="246"/>
                </a:lnTo>
                <a:lnTo>
                  <a:pt x="444" y="252"/>
                </a:lnTo>
                <a:lnTo>
                  <a:pt x="462" y="252"/>
                </a:lnTo>
                <a:lnTo>
                  <a:pt x="474" y="252"/>
                </a:lnTo>
                <a:lnTo>
                  <a:pt x="498" y="264"/>
                </a:lnTo>
                <a:lnTo>
                  <a:pt x="516" y="264"/>
                </a:lnTo>
                <a:lnTo>
                  <a:pt x="516" y="258"/>
                </a:lnTo>
                <a:lnTo>
                  <a:pt x="540" y="252"/>
                </a:lnTo>
                <a:lnTo>
                  <a:pt x="552" y="246"/>
                </a:lnTo>
                <a:lnTo>
                  <a:pt x="558" y="246"/>
                </a:lnTo>
                <a:lnTo>
                  <a:pt x="576" y="240"/>
                </a:lnTo>
                <a:lnTo>
                  <a:pt x="588" y="234"/>
                </a:lnTo>
                <a:lnTo>
                  <a:pt x="600" y="228"/>
                </a:lnTo>
                <a:lnTo>
                  <a:pt x="624" y="216"/>
                </a:lnTo>
                <a:lnTo>
                  <a:pt x="648" y="204"/>
                </a:lnTo>
                <a:lnTo>
                  <a:pt x="672" y="198"/>
                </a:lnTo>
                <a:lnTo>
                  <a:pt x="678" y="192"/>
                </a:lnTo>
                <a:lnTo>
                  <a:pt x="690" y="186"/>
                </a:lnTo>
                <a:lnTo>
                  <a:pt x="708" y="174"/>
                </a:lnTo>
                <a:lnTo>
                  <a:pt x="714" y="168"/>
                </a:lnTo>
                <a:lnTo>
                  <a:pt x="720" y="168"/>
                </a:lnTo>
                <a:lnTo>
                  <a:pt x="726" y="168"/>
                </a:lnTo>
                <a:lnTo>
                  <a:pt x="738" y="174"/>
                </a:lnTo>
                <a:lnTo>
                  <a:pt x="744" y="174"/>
                </a:lnTo>
                <a:lnTo>
                  <a:pt x="750" y="180"/>
                </a:lnTo>
                <a:lnTo>
                  <a:pt x="756" y="180"/>
                </a:lnTo>
                <a:lnTo>
                  <a:pt x="768" y="186"/>
                </a:lnTo>
                <a:lnTo>
                  <a:pt x="780" y="186"/>
                </a:lnTo>
                <a:lnTo>
                  <a:pt x="798" y="180"/>
                </a:lnTo>
                <a:lnTo>
                  <a:pt x="810" y="174"/>
                </a:lnTo>
                <a:lnTo>
                  <a:pt x="816" y="174"/>
                </a:lnTo>
                <a:lnTo>
                  <a:pt x="828" y="156"/>
                </a:lnTo>
                <a:lnTo>
                  <a:pt x="846" y="150"/>
                </a:lnTo>
                <a:lnTo>
                  <a:pt x="858" y="150"/>
                </a:lnTo>
                <a:lnTo>
                  <a:pt x="882" y="150"/>
                </a:lnTo>
                <a:lnTo>
                  <a:pt x="888" y="150"/>
                </a:lnTo>
                <a:lnTo>
                  <a:pt x="906" y="156"/>
                </a:lnTo>
                <a:lnTo>
                  <a:pt x="924" y="156"/>
                </a:lnTo>
                <a:lnTo>
                  <a:pt x="930" y="156"/>
                </a:lnTo>
                <a:lnTo>
                  <a:pt x="954" y="156"/>
                </a:lnTo>
                <a:lnTo>
                  <a:pt x="972" y="150"/>
                </a:lnTo>
                <a:lnTo>
                  <a:pt x="996" y="144"/>
                </a:lnTo>
                <a:lnTo>
                  <a:pt x="1020" y="126"/>
                </a:lnTo>
                <a:lnTo>
                  <a:pt x="1038" y="108"/>
                </a:lnTo>
                <a:lnTo>
                  <a:pt x="1062" y="90"/>
                </a:lnTo>
                <a:lnTo>
                  <a:pt x="1074" y="78"/>
                </a:lnTo>
                <a:lnTo>
                  <a:pt x="1074" y="72"/>
                </a:lnTo>
                <a:lnTo>
                  <a:pt x="1074" y="66"/>
                </a:lnTo>
                <a:lnTo>
                  <a:pt x="1080" y="60"/>
                </a:lnTo>
                <a:lnTo>
                  <a:pt x="1080" y="48"/>
                </a:lnTo>
                <a:lnTo>
                  <a:pt x="1086" y="30"/>
                </a:lnTo>
                <a:lnTo>
                  <a:pt x="1098" y="18"/>
                </a:lnTo>
                <a:lnTo>
                  <a:pt x="1116" y="12"/>
                </a:lnTo>
                <a:lnTo>
                  <a:pt x="1122" y="12"/>
                </a:lnTo>
                <a:lnTo>
                  <a:pt x="1140" y="6"/>
                </a:lnTo>
                <a:lnTo>
                  <a:pt x="1152" y="0"/>
                </a:lnTo>
                <a:lnTo>
                  <a:pt x="1164" y="0"/>
                </a:lnTo>
                <a:lnTo>
                  <a:pt x="1170" y="0"/>
                </a:lnTo>
                <a:lnTo>
                  <a:pt x="1182" y="0"/>
                </a:lnTo>
                <a:lnTo>
                  <a:pt x="1194" y="6"/>
                </a:lnTo>
                <a:lnTo>
                  <a:pt x="1206" y="0"/>
                </a:lnTo>
                <a:lnTo>
                  <a:pt x="1230" y="0"/>
                </a:lnTo>
                <a:lnTo>
                  <a:pt x="1248" y="6"/>
                </a:lnTo>
                <a:lnTo>
                  <a:pt x="1254" y="6"/>
                </a:lnTo>
                <a:lnTo>
                  <a:pt x="1260" y="12"/>
                </a:lnTo>
                <a:lnTo>
                  <a:pt x="1278" y="12"/>
                </a:lnTo>
                <a:lnTo>
                  <a:pt x="1290" y="12"/>
                </a:lnTo>
                <a:lnTo>
                  <a:pt x="1302" y="18"/>
                </a:lnTo>
                <a:lnTo>
                  <a:pt x="1308" y="24"/>
                </a:lnTo>
                <a:lnTo>
                  <a:pt x="1314" y="42"/>
                </a:lnTo>
                <a:lnTo>
                  <a:pt x="1320" y="66"/>
                </a:lnTo>
                <a:lnTo>
                  <a:pt x="1332" y="78"/>
                </a:lnTo>
                <a:lnTo>
                  <a:pt x="1338" y="84"/>
                </a:lnTo>
                <a:lnTo>
                  <a:pt x="1344" y="90"/>
                </a:lnTo>
                <a:lnTo>
                  <a:pt x="1350" y="90"/>
                </a:lnTo>
                <a:lnTo>
                  <a:pt x="1356" y="96"/>
                </a:lnTo>
                <a:lnTo>
                  <a:pt x="1350" y="108"/>
                </a:lnTo>
                <a:lnTo>
                  <a:pt x="1350" y="114"/>
                </a:lnTo>
                <a:lnTo>
                  <a:pt x="1350" y="120"/>
                </a:lnTo>
                <a:lnTo>
                  <a:pt x="1350" y="132"/>
                </a:lnTo>
                <a:lnTo>
                  <a:pt x="1350" y="144"/>
                </a:lnTo>
                <a:lnTo>
                  <a:pt x="1356" y="150"/>
                </a:lnTo>
                <a:lnTo>
                  <a:pt x="1368" y="162"/>
                </a:lnTo>
                <a:lnTo>
                  <a:pt x="1374" y="162"/>
                </a:lnTo>
                <a:lnTo>
                  <a:pt x="1380" y="168"/>
                </a:lnTo>
                <a:lnTo>
                  <a:pt x="1386" y="168"/>
                </a:lnTo>
                <a:lnTo>
                  <a:pt x="1362" y="198"/>
                </a:lnTo>
                <a:lnTo>
                  <a:pt x="1350" y="186"/>
                </a:lnTo>
                <a:lnTo>
                  <a:pt x="1344" y="180"/>
                </a:lnTo>
                <a:lnTo>
                  <a:pt x="1338" y="180"/>
                </a:lnTo>
                <a:lnTo>
                  <a:pt x="1332" y="180"/>
                </a:lnTo>
                <a:lnTo>
                  <a:pt x="1326" y="186"/>
                </a:lnTo>
                <a:lnTo>
                  <a:pt x="1314" y="198"/>
                </a:lnTo>
                <a:lnTo>
                  <a:pt x="1308" y="204"/>
                </a:lnTo>
                <a:lnTo>
                  <a:pt x="1302" y="198"/>
                </a:lnTo>
                <a:lnTo>
                  <a:pt x="1290" y="198"/>
                </a:lnTo>
                <a:lnTo>
                  <a:pt x="1278" y="198"/>
                </a:lnTo>
                <a:lnTo>
                  <a:pt x="1272" y="204"/>
                </a:lnTo>
                <a:lnTo>
                  <a:pt x="1272" y="216"/>
                </a:lnTo>
                <a:lnTo>
                  <a:pt x="1272" y="228"/>
                </a:lnTo>
                <a:lnTo>
                  <a:pt x="1272" y="234"/>
                </a:lnTo>
                <a:lnTo>
                  <a:pt x="1272" y="240"/>
                </a:lnTo>
                <a:lnTo>
                  <a:pt x="1278" y="252"/>
                </a:lnTo>
                <a:lnTo>
                  <a:pt x="1284" y="258"/>
                </a:lnTo>
                <a:lnTo>
                  <a:pt x="1284" y="264"/>
                </a:lnTo>
                <a:lnTo>
                  <a:pt x="1290" y="270"/>
                </a:lnTo>
                <a:lnTo>
                  <a:pt x="1290" y="282"/>
                </a:lnTo>
                <a:lnTo>
                  <a:pt x="1290" y="294"/>
                </a:lnTo>
                <a:lnTo>
                  <a:pt x="1290" y="318"/>
                </a:lnTo>
                <a:lnTo>
                  <a:pt x="1290" y="324"/>
                </a:lnTo>
                <a:lnTo>
                  <a:pt x="1278" y="324"/>
                </a:lnTo>
                <a:lnTo>
                  <a:pt x="1260" y="324"/>
                </a:lnTo>
                <a:lnTo>
                  <a:pt x="1254" y="330"/>
                </a:lnTo>
                <a:lnTo>
                  <a:pt x="1248" y="330"/>
                </a:lnTo>
                <a:lnTo>
                  <a:pt x="1242" y="336"/>
                </a:lnTo>
                <a:lnTo>
                  <a:pt x="1224" y="324"/>
                </a:lnTo>
                <a:lnTo>
                  <a:pt x="1218" y="324"/>
                </a:lnTo>
                <a:lnTo>
                  <a:pt x="1206" y="318"/>
                </a:lnTo>
                <a:lnTo>
                  <a:pt x="1200" y="312"/>
                </a:lnTo>
                <a:lnTo>
                  <a:pt x="1194" y="312"/>
                </a:lnTo>
                <a:lnTo>
                  <a:pt x="1188" y="306"/>
                </a:lnTo>
                <a:lnTo>
                  <a:pt x="1188" y="312"/>
                </a:lnTo>
                <a:lnTo>
                  <a:pt x="1182" y="318"/>
                </a:lnTo>
                <a:lnTo>
                  <a:pt x="1176" y="330"/>
                </a:lnTo>
                <a:lnTo>
                  <a:pt x="1164" y="330"/>
                </a:lnTo>
                <a:lnTo>
                  <a:pt x="1146" y="336"/>
                </a:lnTo>
                <a:lnTo>
                  <a:pt x="1152" y="342"/>
                </a:lnTo>
                <a:lnTo>
                  <a:pt x="1164" y="342"/>
                </a:lnTo>
                <a:lnTo>
                  <a:pt x="1182" y="354"/>
                </a:lnTo>
                <a:lnTo>
                  <a:pt x="1194" y="354"/>
                </a:lnTo>
                <a:lnTo>
                  <a:pt x="1194" y="366"/>
                </a:lnTo>
                <a:lnTo>
                  <a:pt x="1188" y="372"/>
                </a:lnTo>
                <a:lnTo>
                  <a:pt x="1176" y="378"/>
                </a:lnTo>
                <a:lnTo>
                  <a:pt x="1164" y="384"/>
                </a:lnTo>
                <a:lnTo>
                  <a:pt x="1146" y="390"/>
                </a:lnTo>
                <a:lnTo>
                  <a:pt x="1140" y="402"/>
                </a:lnTo>
                <a:lnTo>
                  <a:pt x="1140" y="414"/>
                </a:lnTo>
                <a:lnTo>
                  <a:pt x="1134" y="420"/>
                </a:lnTo>
                <a:lnTo>
                  <a:pt x="1128" y="426"/>
                </a:lnTo>
                <a:lnTo>
                  <a:pt x="1122" y="432"/>
                </a:lnTo>
                <a:lnTo>
                  <a:pt x="1122" y="438"/>
                </a:lnTo>
                <a:lnTo>
                  <a:pt x="1116" y="444"/>
                </a:lnTo>
                <a:lnTo>
                  <a:pt x="1116" y="456"/>
                </a:lnTo>
                <a:lnTo>
                  <a:pt x="1116" y="462"/>
                </a:lnTo>
                <a:lnTo>
                  <a:pt x="1110" y="468"/>
                </a:lnTo>
                <a:lnTo>
                  <a:pt x="1098" y="480"/>
                </a:lnTo>
                <a:lnTo>
                  <a:pt x="1092" y="492"/>
                </a:lnTo>
                <a:lnTo>
                  <a:pt x="1092" y="504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74" name="Freeform 18"/>
          <p:cNvSpPr>
            <a:spLocks/>
          </p:cNvSpPr>
          <p:nvPr/>
        </p:nvSpPr>
        <p:spPr bwMode="gray">
          <a:xfrm>
            <a:off x="3598863" y="3078163"/>
            <a:ext cx="549275" cy="492125"/>
          </a:xfrm>
          <a:custGeom>
            <a:avLst/>
            <a:gdLst>
              <a:gd name="T0" fmla="*/ 19624 w 570"/>
              <a:gd name="T1" fmla="*/ 2451 h 510"/>
              <a:gd name="T2" fmla="*/ 22077 w 570"/>
              <a:gd name="T3" fmla="*/ 4084 h 510"/>
              <a:gd name="T4" fmla="*/ 22077 w 570"/>
              <a:gd name="T5" fmla="*/ 5718 h 510"/>
              <a:gd name="T6" fmla="*/ 24530 w 570"/>
              <a:gd name="T7" fmla="*/ 8168 h 510"/>
              <a:gd name="T8" fmla="*/ 26165 w 570"/>
              <a:gd name="T9" fmla="*/ 9802 h 510"/>
              <a:gd name="T10" fmla="*/ 27800 w 570"/>
              <a:gd name="T11" fmla="*/ 9802 h 510"/>
              <a:gd name="T12" fmla="*/ 30253 w 570"/>
              <a:gd name="T13" fmla="*/ 10619 h 510"/>
              <a:gd name="T14" fmla="*/ 31889 w 570"/>
              <a:gd name="T15" fmla="*/ 11436 h 510"/>
              <a:gd name="T16" fmla="*/ 33524 w 570"/>
              <a:gd name="T17" fmla="*/ 13069 h 510"/>
              <a:gd name="T18" fmla="*/ 38430 w 570"/>
              <a:gd name="T19" fmla="*/ 13069 h 510"/>
              <a:gd name="T20" fmla="*/ 38430 w 570"/>
              <a:gd name="T21" fmla="*/ 14703 h 510"/>
              <a:gd name="T22" fmla="*/ 40065 w 570"/>
              <a:gd name="T23" fmla="*/ 15520 h 510"/>
              <a:gd name="T24" fmla="*/ 40883 w 570"/>
              <a:gd name="T25" fmla="*/ 17971 h 510"/>
              <a:gd name="T26" fmla="*/ 40065 w 570"/>
              <a:gd name="T27" fmla="*/ 19604 h 510"/>
              <a:gd name="T28" fmla="*/ 38430 w 570"/>
              <a:gd name="T29" fmla="*/ 19604 h 510"/>
              <a:gd name="T30" fmla="*/ 37612 w 570"/>
              <a:gd name="T31" fmla="*/ 21238 h 510"/>
              <a:gd name="T32" fmla="*/ 36795 w 570"/>
              <a:gd name="T33" fmla="*/ 24505 h 510"/>
              <a:gd name="T34" fmla="*/ 34342 w 570"/>
              <a:gd name="T35" fmla="*/ 26139 h 510"/>
              <a:gd name="T36" fmla="*/ 31071 w 570"/>
              <a:gd name="T37" fmla="*/ 27773 h 510"/>
              <a:gd name="T38" fmla="*/ 31071 w 570"/>
              <a:gd name="T39" fmla="*/ 29406 h 510"/>
              <a:gd name="T40" fmla="*/ 29436 w 570"/>
              <a:gd name="T41" fmla="*/ 33491 h 510"/>
              <a:gd name="T42" fmla="*/ 27800 w 570"/>
              <a:gd name="T43" fmla="*/ 35941 h 510"/>
              <a:gd name="T44" fmla="*/ 24530 w 570"/>
              <a:gd name="T45" fmla="*/ 36758 h 510"/>
              <a:gd name="T46" fmla="*/ 22077 w 570"/>
              <a:gd name="T47" fmla="*/ 35124 h 510"/>
              <a:gd name="T48" fmla="*/ 20441 w 570"/>
              <a:gd name="T49" fmla="*/ 33491 h 510"/>
              <a:gd name="T50" fmla="*/ 19624 w 570"/>
              <a:gd name="T51" fmla="*/ 31857 h 510"/>
              <a:gd name="T52" fmla="*/ 17171 w 570"/>
              <a:gd name="T53" fmla="*/ 30223 h 510"/>
              <a:gd name="T54" fmla="*/ 16353 w 570"/>
              <a:gd name="T55" fmla="*/ 31857 h 510"/>
              <a:gd name="T56" fmla="*/ 15536 w 570"/>
              <a:gd name="T57" fmla="*/ 31857 h 510"/>
              <a:gd name="T58" fmla="*/ 13900 w 570"/>
              <a:gd name="T59" fmla="*/ 33491 h 510"/>
              <a:gd name="T60" fmla="*/ 12265 w 570"/>
              <a:gd name="T61" fmla="*/ 33491 h 510"/>
              <a:gd name="T62" fmla="*/ 9812 w 570"/>
              <a:gd name="T63" fmla="*/ 34307 h 510"/>
              <a:gd name="T64" fmla="*/ 7359 w 570"/>
              <a:gd name="T65" fmla="*/ 35941 h 510"/>
              <a:gd name="T66" fmla="*/ 7359 w 570"/>
              <a:gd name="T67" fmla="*/ 35124 h 510"/>
              <a:gd name="T68" fmla="*/ 6541 w 570"/>
              <a:gd name="T69" fmla="*/ 33491 h 510"/>
              <a:gd name="T70" fmla="*/ 7359 w 570"/>
              <a:gd name="T71" fmla="*/ 31857 h 510"/>
              <a:gd name="T72" fmla="*/ 6541 w 570"/>
              <a:gd name="T73" fmla="*/ 30223 h 510"/>
              <a:gd name="T74" fmla="*/ 7359 w 570"/>
              <a:gd name="T75" fmla="*/ 29406 h 510"/>
              <a:gd name="T76" fmla="*/ 8177 w 570"/>
              <a:gd name="T77" fmla="*/ 27773 h 510"/>
              <a:gd name="T78" fmla="*/ 7359 w 570"/>
              <a:gd name="T79" fmla="*/ 26139 h 510"/>
              <a:gd name="T80" fmla="*/ 7359 w 570"/>
              <a:gd name="T81" fmla="*/ 23688 h 510"/>
              <a:gd name="T82" fmla="*/ 4906 w 570"/>
              <a:gd name="T83" fmla="*/ 22872 h 510"/>
              <a:gd name="T84" fmla="*/ 3271 w 570"/>
              <a:gd name="T85" fmla="*/ 20421 h 510"/>
              <a:gd name="T86" fmla="*/ 3271 w 570"/>
              <a:gd name="T87" fmla="*/ 19604 h 510"/>
              <a:gd name="T88" fmla="*/ 2453 w 570"/>
              <a:gd name="T89" fmla="*/ 17154 h 510"/>
              <a:gd name="T90" fmla="*/ 0 w 570"/>
              <a:gd name="T91" fmla="*/ 15520 h 510"/>
              <a:gd name="T92" fmla="*/ 1635 w 570"/>
              <a:gd name="T93" fmla="*/ 13069 h 510"/>
              <a:gd name="T94" fmla="*/ 818 w 570"/>
              <a:gd name="T95" fmla="*/ 12253 h 510"/>
              <a:gd name="T96" fmla="*/ 818 w 570"/>
              <a:gd name="T97" fmla="*/ 10619 h 510"/>
              <a:gd name="T98" fmla="*/ 818 w 570"/>
              <a:gd name="T99" fmla="*/ 8985 h 510"/>
              <a:gd name="T100" fmla="*/ 4906 w 570"/>
              <a:gd name="T101" fmla="*/ 8168 h 510"/>
              <a:gd name="T102" fmla="*/ 5724 w 570"/>
              <a:gd name="T103" fmla="*/ 7352 h 510"/>
              <a:gd name="T104" fmla="*/ 7359 w 570"/>
              <a:gd name="T105" fmla="*/ 6535 h 510"/>
              <a:gd name="T106" fmla="*/ 8994 w 570"/>
              <a:gd name="T107" fmla="*/ 4901 h 510"/>
              <a:gd name="T108" fmla="*/ 9812 w 570"/>
              <a:gd name="T109" fmla="*/ 2451 h 510"/>
              <a:gd name="T110" fmla="*/ 12265 w 570"/>
              <a:gd name="T111" fmla="*/ 2451 h 510"/>
              <a:gd name="T112" fmla="*/ 13083 w 570"/>
              <a:gd name="T113" fmla="*/ 4901 h 510"/>
              <a:gd name="T114" fmla="*/ 15536 w 570"/>
              <a:gd name="T115" fmla="*/ 0 h 510"/>
              <a:gd name="T116" fmla="*/ 17989 w 570"/>
              <a:gd name="T117" fmla="*/ 2451 h 51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570" h="510">
                <a:moveTo>
                  <a:pt x="258" y="36"/>
                </a:moveTo>
                <a:lnTo>
                  <a:pt x="264" y="36"/>
                </a:lnTo>
                <a:lnTo>
                  <a:pt x="270" y="30"/>
                </a:lnTo>
                <a:lnTo>
                  <a:pt x="276" y="30"/>
                </a:lnTo>
                <a:lnTo>
                  <a:pt x="282" y="36"/>
                </a:lnTo>
                <a:lnTo>
                  <a:pt x="294" y="54"/>
                </a:lnTo>
                <a:lnTo>
                  <a:pt x="294" y="66"/>
                </a:lnTo>
                <a:lnTo>
                  <a:pt x="306" y="60"/>
                </a:lnTo>
                <a:lnTo>
                  <a:pt x="306" y="66"/>
                </a:lnTo>
                <a:lnTo>
                  <a:pt x="312" y="72"/>
                </a:lnTo>
                <a:lnTo>
                  <a:pt x="324" y="72"/>
                </a:lnTo>
                <a:lnTo>
                  <a:pt x="306" y="84"/>
                </a:lnTo>
                <a:lnTo>
                  <a:pt x="312" y="96"/>
                </a:lnTo>
                <a:lnTo>
                  <a:pt x="318" y="96"/>
                </a:lnTo>
                <a:lnTo>
                  <a:pt x="330" y="96"/>
                </a:lnTo>
                <a:lnTo>
                  <a:pt x="336" y="108"/>
                </a:lnTo>
                <a:lnTo>
                  <a:pt x="324" y="120"/>
                </a:lnTo>
                <a:lnTo>
                  <a:pt x="342" y="126"/>
                </a:lnTo>
                <a:lnTo>
                  <a:pt x="354" y="126"/>
                </a:lnTo>
                <a:lnTo>
                  <a:pt x="360" y="132"/>
                </a:lnTo>
                <a:lnTo>
                  <a:pt x="366" y="144"/>
                </a:lnTo>
                <a:lnTo>
                  <a:pt x="372" y="144"/>
                </a:lnTo>
                <a:lnTo>
                  <a:pt x="378" y="144"/>
                </a:lnTo>
                <a:lnTo>
                  <a:pt x="384" y="138"/>
                </a:lnTo>
                <a:lnTo>
                  <a:pt x="396" y="144"/>
                </a:lnTo>
                <a:lnTo>
                  <a:pt x="408" y="138"/>
                </a:lnTo>
                <a:lnTo>
                  <a:pt x="414" y="144"/>
                </a:lnTo>
                <a:lnTo>
                  <a:pt x="420" y="150"/>
                </a:lnTo>
                <a:lnTo>
                  <a:pt x="432" y="138"/>
                </a:lnTo>
                <a:lnTo>
                  <a:pt x="444" y="138"/>
                </a:lnTo>
                <a:lnTo>
                  <a:pt x="438" y="150"/>
                </a:lnTo>
                <a:lnTo>
                  <a:pt x="444" y="156"/>
                </a:lnTo>
                <a:lnTo>
                  <a:pt x="456" y="162"/>
                </a:lnTo>
                <a:lnTo>
                  <a:pt x="456" y="168"/>
                </a:lnTo>
                <a:lnTo>
                  <a:pt x="462" y="168"/>
                </a:lnTo>
                <a:lnTo>
                  <a:pt x="462" y="180"/>
                </a:lnTo>
                <a:lnTo>
                  <a:pt x="468" y="198"/>
                </a:lnTo>
                <a:lnTo>
                  <a:pt x="480" y="192"/>
                </a:lnTo>
                <a:lnTo>
                  <a:pt x="492" y="186"/>
                </a:lnTo>
                <a:lnTo>
                  <a:pt x="522" y="180"/>
                </a:lnTo>
                <a:lnTo>
                  <a:pt x="522" y="174"/>
                </a:lnTo>
                <a:lnTo>
                  <a:pt x="528" y="186"/>
                </a:lnTo>
                <a:lnTo>
                  <a:pt x="528" y="192"/>
                </a:lnTo>
                <a:lnTo>
                  <a:pt x="528" y="198"/>
                </a:lnTo>
                <a:lnTo>
                  <a:pt x="534" y="204"/>
                </a:lnTo>
                <a:lnTo>
                  <a:pt x="540" y="204"/>
                </a:lnTo>
                <a:lnTo>
                  <a:pt x="540" y="210"/>
                </a:lnTo>
                <a:lnTo>
                  <a:pt x="552" y="216"/>
                </a:lnTo>
                <a:lnTo>
                  <a:pt x="552" y="222"/>
                </a:lnTo>
                <a:lnTo>
                  <a:pt x="558" y="228"/>
                </a:lnTo>
                <a:lnTo>
                  <a:pt x="558" y="234"/>
                </a:lnTo>
                <a:lnTo>
                  <a:pt x="564" y="246"/>
                </a:lnTo>
                <a:lnTo>
                  <a:pt x="570" y="252"/>
                </a:lnTo>
                <a:lnTo>
                  <a:pt x="564" y="258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0" y="270"/>
                </a:lnTo>
                <a:lnTo>
                  <a:pt x="534" y="270"/>
                </a:lnTo>
                <a:lnTo>
                  <a:pt x="528" y="270"/>
                </a:lnTo>
                <a:lnTo>
                  <a:pt x="528" y="276"/>
                </a:lnTo>
                <a:lnTo>
                  <a:pt x="522" y="276"/>
                </a:lnTo>
                <a:lnTo>
                  <a:pt x="522" y="282"/>
                </a:lnTo>
                <a:lnTo>
                  <a:pt x="516" y="288"/>
                </a:lnTo>
                <a:lnTo>
                  <a:pt x="516" y="300"/>
                </a:lnTo>
                <a:lnTo>
                  <a:pt x="510" y="312"/>
                </a:lnTo>
                <a:lnTo>
                  <a:pt x="504" y="318"/>
                </a:lnTo>
                <a:lnTo>
                  <a:pt x="504" y="342"/>
                </a:lnTo>
                <a:lnTo>
                  <a:pt x="492" y="342"/>
                </a:lnTo>
                <a:lnTo>
                  <a:pt x="486" y="360"/>
                </a:lnTo>
                <a:lnTo>
                  <a:pt x="480" y="366"/>
                </a:lnTo>
                <a:lnTo>
                  <a:pt x="474" y="366"/>
                </a:lnTo>
                <a:lnTo>
                  <a:pt x="456" y="360"/>
                </a:lnTo>
                <a:lnTo>
                  <a:pt x="450" y="366"/>
                </a:lnTo>
                <a:lnTo>
                  <a:pt x="450" y="372"/>
                </a:lnTo>
                <a:lnTo>
                  <a:pt x="432" y="378"/>
                </a:lnTo>
                <a:lnTo>
                  <a:pt x="438" y="384"/>
                </a:lnTo>
                <a:lnTo>
                  <a:pt x="438" y="402"/>
                </a:lnTo>
                <a:lnTo>
                  <a:pt x="432" y="408"/>
                </a:lnTo>
                <a:lnTo>
                  <a:pt x="426" y="402"/>
                </a:lnTo>
                <a:lnTo>
                  <a:pt x="414" y="426"/>
                </a:lnTo>
                <a:lnTo>
                  <a:pt x="414" y="432"/>
                </a:lnTo>
                <a:lnTo>
                  <a:pt x="414" y="438"/>
                </a:lnTo>
                <a:lnTo>
                  <a:pt x="408" y="462"/>
                </a:lnTo>
                <a:lnTo>
                  <a:pt x="408" y="474"/>
                </a:lnTo>
                <a:lnTo>
                  <a:pt x="402" y="480"/>
                </a:lnTo>
                <a:lnTo>
                  <a:pt x="402" y="486"/>
                </a:lnTo>
                <a:lnTo>
                  <a:pt x="378" y="498"/>
                </a:lnTo>
                <a:lnTo>
                  <a:pt x="366" y="504"/>
                </a:lnTo>
                <a:lnTo>
                  <a:pt x="354" y="504"/>
                </a:lnTo>
                <a:lnTo>
                  <a:pt x="348" y="510"/>
                </a:lnTo>
                <a:lnTo>
                  <a:pt x="342" y="510"/>
                </a:lnTo>
                <a:lnTo>
                  <a:pt x="318" y="498"/>
                </a:lnTo>
                <a:lnTo>
                  <a:pt x="312" y="498"/>
                </a:lnTo>
                <a:lnTo>
                  <a:pt x="306" y="492"/>
                </a:lnTo>
                <a:lnTo>
                  <a:pt x="300" y="486"/>
                </a:lnTo>
                <a:lnTo>
                  <a:pt x="294" y="480"/>
                </a:lnTo>
                <a:lnTo>
                  <a:pt x="288" y="474"/>
                </a:lnTo>
                <a:lnTo>
                  <a:pt x="282" y="468"/>
                </a:lnTo>
                <a:lnTo>
                  <a:pt x="282" y="456"/>
                </a:lnTo>
                <a:lnTo>
                  <a:pt x="282" y="450"/>
                </a:lnTo>
                <a:lnTo>
                  <a:pt x="282" y="444"/>
                </a:lnTo>
                <a:lnTo>
                  <a:pt x="276" y="444"/>
                </a:lnTo>
                <a:lnTo>
                  <a:pt x="270" y="444"/>
                </a:lnTo>
                <a:lnTo>
                  <a:pt x="264" y="444"/>
                </a:lnTo>
                <a:lnTo>
                  <a:pt x="252" y="420"/>
                </a:lnTo>
                <a:lnTo>
                  <a:pt x="246" y="420"/>
                </a:lnTo>
                <a:lnTo>
                  <a:pt x="240" y="420"/>
                </a:lnTo>
                <a:lnTo>
                  <a:pt x="234" y="426"/>
                </a:lnTo>
                <a:lnTo>
                  <a:pt x="228" y="432"/>
                </a:lnTo>
                <a:lnTo>
                  <a:pt x="222" y="432"/>
                </a:lnTo>
                <a:lnTo>
                  <a:pt x="222" y="438"/>
                </a:lnTo>
                <a:lnTo>
                  <a:pt x="228" y="438"/>
                </a:lnTo>
                <a:lnTo>
                  <a:pt x="228" y="444"/>
                </a:lnTo>
                <a:lnTo>
                  <a:pt x="222" y="444"/>
                </a:lnTo>
                <a:lnTo>
                  <a:pt x="216" y="444"/>
                </a:lnTo>
                <a:lnTo>
                  <a:pt x="210" y="456"/>
                </a:lnTo>
                <a:lnTo>
                  <a:pt x="204" y="462"/>
                </a:lnTo>
                <a:lnTo>
                  <a:pt x="198" y="462"/>
                </a:lnTo>
                <a:lnTo>
                  <a:pt x="192" y="456"/>
                </a:lnTo>
                <a:lnTo>
                  <a:pt x="186" y="468"/>
                </a:lnTo>
                <a:lnTo>
                  <a:pt x="180" y="462"/>
                </a:lnTo>
                <a:lnTo>
                  <a:pt x="174" y="468"/>
                </a:lnTo>
                <a:lnTo>
                  <a:pt x="168" y="462"/>
                </a:lnTo>
                <a:lnTo>
                  <a:pt x="162" y="462"/>
                </a:lnTo>
                <a:lnTo>
                  <a:pt x="156" y="462"/>
                </a:lnTo>
                <a:lnTo>
                  <a:pt x="144" y="468"/>
                </a:lnTo>
                <a:lnTo>
                  <a:pt x="138" y="474"/>
                </a:lnTo>
                <a:lnTo>
                  <a:pt x="132" y="474"/>
                </a:lnTo>
                <a:lnTo>
                  <a:pt x="120" y="486"/>
                </a:lnTo>
                <a:lnTo>
                  <a:pt x="102" y="504"/>
                </a:lnTo>
                <a:lnTo>
                  <a:pt x="102" y="498"/>
                </a:lnTo>
                <a:lnTo>
                  <a:pt x="96" y="498"/>
                </a:lnTo>
                <a:lnTo>
                  <a:pt x="96" y="492"/>
                </a:lnTo>
                <a:lnTo>
                  <a:pt x="96" y="486"/>
                </a:lnTo>
                <a:lnTo>
                  <a:pt x="96" y="480"/>
                </a:lnTo>
                <a:lnTo>
                  <a:pt x="90" y="480"/>
                </a:lnTo>
                <a:lnTo>
                  <a:pt x="90" y="474"/>
                </a:lnTo>
                <a:lnTo>
                  <a:pt x="90" y="468"/>
                </a:lnTo>
                <a:lnTo>
                  <a:pt x="90" y="462"/>
                </a:lnTo>
                <a:lnTo>
                  <a:pt x="96" y="456"/>
                </a:lnTo>
                <a:lnTo>
                  <a:pt x="102" y="456"/>
                </a:lnTo>
                <a:lnTo>
                  <a:pt x="102" y="450"/>
                </a:lnTo>
                <a:lnTo>
                  <a:pt x="96" y="444"/>
                </a:lnTo>
                <a:lnTo>
                  <a:pt x="96" y="438"/>
                </a:lnTo>
                <a:lnTo>
                  <a:pt x="90" y="432"/>
                </a:lnTo>
                <a:lnTo>
                  <a:pt x="90" y="426"/>
                </a:lnTo>
                <a:lnTo>
                  <a:pt x="90" y="420"/>
                </a:lnTo>
                <a:lnTo>
                  <a:pt x="96" y="420"/>
                </a:lnTo>
                <a:lnTo>
                  <a:pt x="96" y="414"/>
                </a:lnTo>
                <a:lnTo>
                  <a:pt x="96" y="408"/>
                </a:lnTo>
                <a:lnTo>
                  <a:pt x="96" y="402"/>
                </a:lnTo>
                <a:lnTo>
                  <a:pt x="102" y="402"/>
                </a:lnTo>
                <a:lnTo>
                  <a:pt x="102" y="396"/>
                </a:lnTo>
                <a:lnTo>
                  <a:pt x="108" y="396"/>
                </a:lnTo>
                <a:lnTo>
                  <a:pt x="108" y="384"/>
                </a:lnTo>
                <a:lnTo>
                  <a:pt x="96" y="384"/>
                </a:lnTo>
                <a:lnTo>
                  <a:pt x="90" y="378"/>
                </a:lnTo>
                <a:lnTo>
                  <a:pt x="84" y="372"/>
                </a:lnTo>
                <a:lnTo>
                  <a:pt x="96" y="366"/>
                </a:lnTo>
                <a:lnTo>
                  <a:pt x="96" y="360"/>
                </a:lnTo>
                <a:lnTo>
                  <a:pt x="102" y="354"/>
                </a:lnTo>
                <a:lnTo>
                  <a:pt x="96" y="336"/>
                </a:lnTo>
                <a:lnTo>
                  <a:pt x="96" y="330"/>
                </a:lnTo>
                <a:lnTo>
                  <a:pt x="90" y="318"/>
                </a:lnTo>
                <a:lnTo>
                  <a:pt x="84" y="318"/>
                </a:lnTo>
                <a:lnTo>
                  <a:pt x="78" y="318"/>
                </a:lnTo>
                <a:lnTo>
                  <a:pt x="72" y="312"/>
                </a:lnTo>
                <a:lnTo>
                  <a:pt x="54" y="312"/>
                </a:lnTo>
                <a:lnTo>
                  <a:pt x="54" y="306"/>
                </a:lnTo>
                <a:lnTo>
                  <a:pt x="48" y="294"/>
                </a:lnTo>
                <a:lnTo>
                  <a:pt x="42" y="282"/>
                </a:lnTo>
                <a:lnTo>
                  <a:pt x="30" y="276"/>
                </a:lnTo>
                <a:lnTo>
                  <a:pt x="36" y="264"/>
                </a:lnTo>
                <a:lnTo>
                  <a:pt x="42" y="264"/>
                </a:lnTo>
                <a:lnTo>
                  <a:pt x="48" y="264"/>
                </a:lnTo>
                <a:lnTo>
                  <a:pt x="48" y="252"/>
                </a:lnTo>
                <a:lnTo>
                  <a:pt x="42" y="246"/>
                </a:lnTo>
                <a:lnTo>
                  <a:pt x="30" y="240"/>
                </a:lnTo>
                <a:lnTo>
                  <a:pt x="36" y="234"/>
                </a:lnTo>
                <a:lnTo>
                  <a:pt x="30" y="222"/>
                </a:lnTo>
                <a:lnTo>
                  <a:pt x="18" y="222"/>
                </a:lnTo>
                <a:lnTo>
                  <a:pt x="12" y="222"/>
                </a:lnTo>
                <a:lnTo>
                  <a:pt x="0" y="216"/>
                </a:lnTo>
                <a:lnTo>
                  <a:pt x="6" y="216"/>
                </a:lnTo>
                <a:lnTo>
                  <a:pt x="12" y="204"/>
                </a:lnTo>
                <a:lnTo>
                  <a:pt x="24" y="204"/>
                </a:lnTo>
                <a:lnTo>
                  <a:pt x="24" y="186"/>
                </a:lnTo>
                <a:lnTo>
                  <a:pt x="18" y="180"/>
                </a:lnTo>
                <a:lnTo>
                  <a:pt x="12" y="180"/>
                </a:lnTo>
                <a:lnTo>
                  <a:pt x="6" y="174"/>
                </a:lnTo>
                <a:lnTo>
                  <a:pt x="18" y="168"/>
                </a:lnTo>
                <a:lnTo>
                  <a:pt x="24" y="162"/>
                </a:lnTo>
                <a:lnTo>
                  <a:pt x="18" y="162"/>
                </a:lnTo>
                <a:lnTo>
                  <a:pt x="12" y="150"/>
                </a:lnTo>
                <a:lnTo>
                  <a:pt x="18" y="150"/>
                </a:lnTo>
                <a:lnTo>
                  <a:pt x="24" y="144"/>
                </a:lnTo>
                <a:lnTo>
                  <a:pt x="12" y="132"/>
                </a:lnTo>
                <a:lnTo>
                  <a:pt x="18" y="126"/>
                </a:lnTo>
                <a:lnTo>
                  <a:pt x="18" y="120"/>
                </a:lnTo>
                <a:lnTo>
                  <a:pt x="36" y="120"/>
                </a:lnTo>
                <a:lnTo>
                  <a:pt x="54" y="120"/>
                </a:lnTo>
                <a:lnTo>
                  <a:pt x="60" y="120"/>
                </a:lnTo>
                <a:lnTo>
                  <a:pt x="66" y="114"/>
                </a:lnTo>
                <a:lnTo>
                  <a:pt x="60" y="102"/>
                </a:lnTo>
                <a:lnTo>
                  <a:pt x="66" y="102"/>
                </a:lnTo>
                <a:lnTo>
                  <a:pt x="72" y="96"/>
                </a:lnTo>
                <a:lnTo>
                  <a:pt x="78" y="102"/>
                </a:lnTo>
                <a:lnTo>
                  <a:pt x="84" y="90"/>
                </a:lnTo>
                <a:lnTo>
                  <a:pt x="90" y="84"/>
                </a:lnTo>
                <a:lnTo>
                  <a:pt x="96" y="84"/>
                </a:lnTo>
                <a:lnTo>
                  <a:pt x="102" y="90"/>
                </a:lnTo>
                <a:lnTo>
                  <a:pt x="108" y="84"/>
                </a:lnTo>
                <a:lnTo>
                  <a:pt x="120" y="84"/>
                </a:lnTo>
                <a:lnTo>
                  <a:pt x="126" y="72"/>
                </a:lnTo>
                <a:lnTo>
                  <a:pt x="126" y="66"/>
                </a:lnTo>
                <a:lnTo>
                  <a:pt x="120" y="54"/>
                </a:lnTo>
                <a:lnTo>
                  <a:pt x="120" y="48"/>
                </a:lnTo>
                <a:lnTo>
                  <a:pt x="126" y="42"/>
                </a:lnTo>
                <a:lnTo>
                  <a:pt x="138" y="30"/>
                </a:lnTo>
                <a:lnTo>
                  <a:pt x="144" y="30"/>
                </a:lnTo>
                <a:lnTo>
                  <a:pt x="156" y="30"/>
                </a:lnTo>
                <a:lnTo>
                  <a:pt x="162" y="30"/>
                </a:lnTo>
                <a:lnTo>
                  <a:pt x="168" y="30"/>
                </a:lnTo>
                <a:lnTo>
                  <a:pt x="180" y="24"/>
                </a:lnTo>
                <a:lnTo>
                  <a:pt x="174" y="42"/>
                </a:lnTo>
                <a:lnTo>
                  <a:pt x="174" y="60"/>
                </a:lnTo>
                <a:lnTo>
                  <a:pt x="186" y="72"/>
                </a:lnTo>
                <a:lnTo>
                  <a:pt x="186" y="60"/>
                </a:lnTo>
                <a:lnTo>
                  <a:pt x="192" y="54"/>
                </a:lnTo>
                <a:lnTo>
                  <a:pt x="192" y="48"/>
                </a:lnTo>
                <a:lnTo>
                  <a:pt x="210" y="0"/>
                </a:lnTo>
                <a:lnTo>
                  <a:pt x="234" y="12"/>
                </a:lnTo>
                <a:lnTo>
                  <a:pt x="240" y="12"/>
                </a:lnTo>
                <a:lnTo>
                  <a:pt x="246" y="30"/>
                </a:lnTo>
                <a:lnTo>
                  <a:pt x="252" y="36"/>
                </a:lnTo>
                <a:lnTo>
                  <a:pt x="258" y="36"/>
                </a:lnTo>
                <a:close/>
              </a:path>
            </a:pathLst>
          </a:cu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5" name="Freeform 19"/>
          <p:cNvSpPr>
            <a:spLocks noEditPoints="1"/>
          </p:cNvSpPr>
          <p:nvPr/>
        </p:nvSpPr>
        <p:spPr bwMode="gray">
          <a:xfrm>
            <a:off x="3281363" y="2276475"/>
            <a:ext cx="1987550" cy="1947863"/>
          </a:xfrm>
          <a:custGeom>
            <a:avLst/>
            <a:gdLst>
              <a:gd name="T0" fmla="*/ 23690 w 2064"/>
              <a:gd name="T1" fmla="*/ 5714 h 2028"/>
              <a:gd name="T2" fmla="*/ 21239 w 2064"/>
              <a:gd name="T3" fmla="*/ 14693 h 2028"/>
              <a:gd name="T4" fmla="*/ 25324 w 2064"/>
              <a:gd name="T5" fmla="*/ 21223 h 2028"/>
              <a:gd name="T6" fmla="*/ 33493 w 2064"/>
              <a:gd name="T7" fmla="*/ 29386 h 2028"/>
              <a:gd name="T8" fmla="*/ 43295 w 2064"/>
              <a:gd name="T9" fmla="*/ 27753 h 2028"/>
              <a:gd name="T10" fmla="*/ 53098 w 2064"/>
              <a:gd name="T11" fmla="*/ 30202 h 2028"/>
              <a:gd name="T12" fmla="*/ 63717 w 2064"/>
              <a:gd name="T13" fmla="*/ 30202 h 2028"/>
              <a:gd name="T14" fmla="*/ 70253 w 2064"/>
              <a:gd name="T15" fmla="*/ 35916 h 2028"/>
              <a:gd name="T16" fmla="*/ 77605 w 2064"/>
              <a:gd name="T17" fmla="*/ 42446 h 2028"/>
              <a:gd name="T18" fmla="*/ 83323 w 2064"/>
              <a:gd name="T19" fmla="*/ 37548 h 2028"/>
              <a:gd name="T20" fmla="*/ 88224 w 2064"/>
              <a:gd name="T21" fmla="*/ 48976 h 2028"/>
              <a:gd name="T22" fmla="*/ 95576 w 2064"/>
              <a:gd name="T23" fmla="*/ 58771 h 2028"/>
              <a:gd name="T24" fmla="*/ 102111 w 2064"/>
              <a:gd name="T25" fmla="*/ 68567 h 2028"/>
              <a:gd name="T26" fmla="*/ 107013 w 2064"/>
              <a:gd name="T27" fmla="*/ 67750 h 2028"/>
              <a:gd name="T28" fmla="*/ 116815 w 2064"/>
              <a:gd name="T29" fmla="*/ 80811 h 2028"/>
              <a:gd name="T30" fmla="*/ 129069 w 2064"/>
              <a:gd name="T31" fmla="*/ 86525 h 2028"/>
              <a:gd name="T32" fmla="*/ 134787 w 2064"/>
              <a:gd name="T33" fmla="*/ 102850 h 2028"/>
              <a:gd name="T34" fmla="*/ 141322 w 2064"/>
              <a:gd name="T35" fmla="*/ 116727 h 2028"/>
              <a:gd name="T36" fmla="*/ 149491 w 2064"/>
              <a:gd name="T37" fmla="*/ 129787 h 2028"/>
              <a:gd name="T38" fmla="*/ 137238 w 2064"/>
              <a:gd name="T39" fmla="*/ 142847 h 2028"/>
              <a:gd name="T40" fmla="*/ 122534 w 2064"/>
              <a:gd name="T41" fmla="*/ 146112 h 2028"/>
              <a:gd name="T42" fmla="*/ 99661 w 2064"/>
              <a:gd name="T43" fmla="*/ 133868 h 2028"/>
              <a:gd name="T44" fmla="*/ 88224 w 2064"/>
              <a:gd name="T45" fmla="*/ 131420 h 2028"/>
              <a:gd name="T46" fmla="*/ 79238 w 2064"/>
              <a:gd name="T47" fmla="*/ 139582 h 2028"/>
              <a:gd name="T48" fmla="*/ 71886 w 2064"/>
              <a:gd name="T49" fmla="*/ 133052 h 2028"/>
              <a:gd name="T50" fmla="*/ 60450 w 2064"/>
              <a:gd name="T51" fmla="*/ 133052 h 2028"/>
              <a:gd name="T52" fmla="*/ 44112 w 2064"/>
              <a:gd name="T53" fmla="*/ 142847 h 2028"/>
              <a:gd name="T54" fmla="*/ 30225 w 2064"/>
              <a:gd name="T55" fmla="*/ 140398 h 2028"/>
              <a:gd name="T56" fmla="*/ 28591 w 2064"/>
              <a:gd name="T57" fmla="*/ 113462 h 2028"/>
              <a:gd name="T58" fmla="*/ 17972 w 2064"/>
              <a:gd name="T59" fmla="*/ 103666 h 2028"/>
              <a:gd name="T60" fmla="*/ 13070 w 2064"/>
              <a:gd name="T61" fmla="*/ 91422 h 2028"/>
              <a:gd name="T62" fmla="*/ 4901 w 2064"/>
              <a:gd name="T63" fmla="*/ 80811 h 2028"/>
              <a:gd name="T64" fmla="*/ 4084 w 2064"/>
              <a:gd name="T65" fmla="*/ 66118 h 2028"/>
              <a:gd name="T66" fmla="*/ 5718 w 2064"/>
              <a:gd name="T67" fmla="*/ 58771 h 2028"/>
              <a:gd name="T68" fmla="*/ 15521 w 2064"/>
              <a:gd name="T69" fmla="*/ 57955 h 2028"/>
              <a:gd name="T70" fmla="*/ 16338 w 2064"/>
              <a:gd name="T71" fmla="*/ 48976 h 2028"/>
              <a:gd name="T72" fmla="*/ 20422 w 2064"/>
              <a:gd name="T73" fmla="*/ 44895 h 2028"/>
              <a:gd name="T74" fmla="*/ 15521 w 2064"/>
              <a:gd name="T75" fmla="*/ 35916 h 2028"/>
              <a:gd name="T76" fmla="*/ 8169 w 2064"/>
              <a:gd name="T77" fmla="*/ 30202 h 2028"/>
              <a:gd name="T78" fmla="*/ 2451 w 2064"/>
              <a:gd name="T79" fmla="*/ 25304 h 2028"/>
              <a:gd name="T80" fmla="*/ 2451 w 2064"/>
              <a:gd name="T81" fmla="*/ 17142 h 2028"/>
              <a:gd name="T82" fmla="*/ 2451 w 2064"/>
              <a:gd name="T83" fmla="*/ 11428 h 2028"/>
              <a:gd name="T84" fmla="*/ 5718 w 2064"/>
              <a:gd name="T85" fmla="*/ 4898 h 2028"/>
              <a:gd name="T86" fmla="*/ 10620 w 2064"/>
              <a:gd name="T87" fmla="*/ 816 h 2028"/>
              <a:gd name="T88" fmla="*/ 37577 w 2064"/>
              <a:gd name="T89" fmla="*/ 63669 h 2028"/>
              <a:gd name="T90" fmla="*/ 33493 w 2064"/>
              <a:gd name="T91" fmla="*/ 65302 h 2028"/>
              <a:gd name="T92" fmla="*/ 26140 w 2064"/>
              <a:gd name="T93" fmla="*/ 69383 h 2028"/>
              <a:gd name="T94" fmla="*/ 24507 w 2064"/>
              <a:gd name="T95" fmla="*/ 75097 h 2028"/>
              <a:gd name="T96" fmla="*/ 27774 w 2064"/>
              <a:gd name="T97" fmla="*/ 81627 h 2028"/>
              <a:gd name="T98" fmla="*/ 31859 w 2064"/>
              <a:gd name="T99" fmla="*/ 88157 h 2028"/>
              <a:gd name="T100" fmla="*/ 31042 w 2064"/>
              <a:gd name="T101" fmla="*/ 93055 h 2028"/>
              <a:gd name="T102" fmla="*/ 35126 w 2064"/>
              <a:gd name="T103" fmla="*/ 93871 h 2028"/>
              <a:gd name="T104" fmla="*/ 40028 w 2064"/>
              <a:gd name="T105" fmla="*/ 91422 h 2028"/>
              <a:gd name="T106" fmla="*/ 45746 w 2064"/>
              <a:gd name="T107" fmla="*/ 95504 h 2028"/>
              <a:gd name="T108" fmla="*/ 53915 w 2064"/>
              <a:gd name="T109" fmla="*/ 91422 h 2028"/>
              <a:gd name="T110" fmla="*/ 60450 w 2064"/>
              <a:gd name="T111" fmla="*/ 83260 h 2028"/>
              <a:gd name="T112" fmla="*/ 64534 w 2064"/>
              <a:gd name="T113" fmla="*/ 77546 h 2028"/>
              <a:gd name="T114" fmla="*/ 57182 w 2064"/>
              <a:gd name="T115" fmla="*/ 73464 h 2028"/>
              <a:gd name="T116" fmla="*/ 50647 w 2064"/>
              <a:gd name="T117" fmla="*/ 71016 h 2028"/>
              <a:gd name="T118" fmla="*/ 44929 w 2064"/>
              <a:gd name="T119" fmla="*/ 64485 h 202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064" h="2028">
                <a:moveTo>
                  <a:pt x="198" y="0"/>
                </a:moveTo>
                <a:lnTo>
                  <a:pt x="210" y="6"/>
                </a:lnTo>
                <a:lnTo>
                  <a:pt x="210" y="12"/>
                </a:lnTo>
                <a:lnTo>
                  <a:pt x="222" y="24"/>
                </a:lnTo>
                <a:lnTo>
                  <a:pt x="234" y="42"/>
                </a:lnTo>
                <a:lnTo>
                  <a:pt x="240" y="48"/>
                </a:lnTo>
                <a:lnTo>
                  <a:pt x="252" y="54"/>
                </a:lnTo>
                <a:lnTo>
                  <a:pt x="258" y="66"/>
                </a:lnTo>
                <a:lnTo>
                  <a:pt x="258" y="78"/>
                </a:lnTo>
                <a:lnTo>
                  <a:pt x="270" y="78"/>
                </a:lnTo>
                <a:lnTo>
                  <a:pt x="288" y="84"/>
                </a:lnTo>
                <a:lnTo>
                  <a:pt x="300" y="66"/>
                </a:lnTo>
                <a:lnTo>
                  <a:pt x="306" y="66"/>
                </a:lnTo>
                <a:lnTo>
                  <a:pt x="318" y="66"/>
                </a:lnTo>
                <a:lnTo>
                  <a:pt x="324" y="78"/>
                </a:lnTo>
                <a:lnTo>
                  <a:pt x="324" y="84"/>
                </a:lnTo>
                <a:lnTo>
                  <a:pt x="324" y="90"/>
                </a:lnTo>
                <a:lnTo>
                  <a:pt x="330" y="90"/>
                </a:lnTo>
                <a:lnTo>
                  <a:pt x="330" y="96"/>
                </a:lnTo>
                <a:lnTo>
                  <a:pt x="330" y="102"/>
                </a:lnTo>
                <a:lnTo>
                  <a:pt x="336" y="102"/>
                </a:lnTo>
                <a:lnTo>
                  <a:pt x="336" y="108"/>
                </a:lnTo>
                <a:lnTo>
                  <a:pt x="336" y="120"/>
                </a:lnTo>
                <a:lnTo>
                  <a:pt x="336" y="132"/>
                </a:lnTo>
                <a:lnTo>
                  <a:pt x="324" y="144"/>
                </a:lnTo>
                <a:lnTo>
                  <a:pt x="324" y="162"/>
                </a:lnTo>
                <a:lnTo>
                  <a:pt x="324" y="168"/>
                </a:lnTo>
                <a:lnTo>
                  <a:pt x="318" y="168"/>
                </a:lnTo>
                <a:lnTo>
                  <a:pt x="312" y="174"/>
                </a:lnTo>
                <a:lnTo>
                  <a:pt x="294" y="198"/>
                </a:lnTo>
                <a:lnTo>
                  <a:pt x="276" y="204"/>
                </a:lnTo>
                <a:lnTo>
                  <a:pt x="276" y="216"/>
                </a:lnTo>
                <a:lnTo>
                  <a:pt x="282" y="228"/>
                </a:lnTo>
                <a:lnTo>
                  <a:pt x="282" y="234"/>
                </a:lnTo>
                <a:lnTo>
                  <a:pt x="294" y="234"/>
                </a:lnTo>
                <a:lnTo>
                  <a:pt x="294" y="246"/>
                </a:lnTo>
                <a:lnTo>
                  <a:pt x="294" y="252"/>
                </a:lnTo>
                <a:lnTo>
                  <a:pt x="312" y="252"/>
                </a:lnTo>
                <a:lnTo>
                  <a:pt x="312" y="258"/>
                </a:lnTo>
                <a:lnTo>
                  <a:pt x="312" y="264"/>
                </a:lnTo>
                <a:lnTo>
                  <a:pt x="306" y="282"/>
                </a:lnTo>
                <a:lnTo>
                  <a:pt x="324" y="276"/>
                </a:lnTo>
                <a:lnTo>
                  <a:pt x="330" y="282"/>
                </a:lnTo>
                <a:lnTo>
                  <a:pt x="336" y="294"/>
                </a:lnTo>
                <a:lnTo>
                  <a:pt x="348" y="294"/>
                </a:lnTo>
                <a:lnTo>
                  <a:pt x="354" y="306"/>
                </a:lnTo>
                <a:lnTo>
                  <a:pt x="366" y="312"/>
                </a:lnTo>
                <a:lnTo>
                  <a:pt x="378" y="330"/>
                </a:lnTo>
                <a:lnTo>
                  <a:pt x="390" y="330"/>
                </a:lnTo>
                <a:lnTo>
                  <a:pt x="396" y="330"/>
                </a:lnTo>
                <a:lnTo>
                  <a:pt x="402" y="342"/>
                </a:lnTo>
                <a:lnTo>
                  <a:pt x="414" y="354"/>
                </a:lnTo>
                <a:lnTo>
                  <a:pt x="414" y="366"/>
                </a:lnTo>
                <a:lnTo>
                  <a:pt x="420" y="372"/>
                </a:lnTo>
                <a:lnTo>
                  <a:pt x="420" y="378"/>
                </a:lnTo>
                <a:lnTo>
                  <a:pt x="420" y="390"/>
                </a:lnTo>
                <a:lnTo>
                  <a:pt x="432" y="390"/>
                </a:lnTo>
                <a:lnTo>
                  <a:pt x="450" y="396"/>
                </a:lnTo>
                <a:lnTo>
                  <a:pt x="456" y="402"/>
                </a:lnTo>
                <a:lnTo>
                  <a:pt x="456" y="408"/>
                </a:lnTo>
                <a:lnTo>
                  <a:pt x="468" y="408"/>
                </a:lnTo>
                <a:lnTo>
                  <a:pt x="480" y="402"/>
                </a:lnTo>
                <a:lnTo>
                  <a:pt x="492" y="396"/>
                </a:lnTo>
                <a:lnTo>
                  <a:pt x="498" y="396"/>
                </a:lnTo>
                <a:lnTo>
                  <a:pt x="498" y="390"/>
                </a:lnTo>
                <a:lnTo>
                  <a:pt x="504" y="390"/>
                </a:lnTo>
                <a:lnTo>
                  <a:pt x="510" y="396"/>
                </a:lnTo>
                <a:lnTo>
                  <a:pt x="516" y="396"/>
                </a:lnTo>
                <a:lnTo>
                  <a:pt x="528" y="390"/>
                </a:lnTo>
                <a:lnTo>
                  <a:pt x="540" y="390"/>
                </a:lnTo>
                <a:lnTo>
                  <a:pt x="540" y="396"/>
                </a:lnTo>
                <a:lnTo>
                  <a:pt x="546" y="396"/>
                </a:lnTo>
                <a:lnTo>
                  <a:pt x="564" y="396"/>
                </a:lnTo>
                <a:lnTo>
                  <a:pt x="576" y="390"/>
                </a:lnTo>
                <a:lnTo>
                  <a:pt x="594" y="384"/>
                </a:lnTo>
                <a:lnTo>
                  <a:pt x="630" y="384"/>
                </a:lnTo>
                <a:lnTo>
                  <a:pt x="636" y="390"/>
                </a:lnTo>
                <a:lnTo>
                  <a:pt x="642" y="390"/>
                </a:lnTo>
                <a:lnTo>
                  <a:pt x="654" y="390"/>
                </a:lnTo>
                <a:lnTo>
                  <a:pt x="660" y="402"/>
                </a:lnTo>
                <a:lnTo>
                  <a:pt x="660" y="408"/>
                </a:lnTo>
                <a:lnTo>
                  <a:pt x="666" y="414"/>
                </a:lnTo>
                <a:lnTo>
                  <a:pt x="672" y="414"/>
                </a:lnTo>
                <a:lnTo>
                  <a:pt x="684" y="414"/>
                </a:lnTo>
                <a:lnTo>
                  <a:pt x="696" y="414"/>
                </a:lnTo>
                <a:lnTo>
                  <a:pt x="708" y="408"/>
                </a:lnTo>
                <a:lnTo>
                  <a:pt x="714" y="408"/>
                </a:lnTo>
                <a:lnTo>
                  <a:pt x="720" y="408"/>
                </a:lnTo>
                <a:lnTo>
                  <a:pt x="726" y="414"/>
                </a:lnTo>
                <a:lnTo>
                  <a:pt x="732" y="414"/>
                </a:lnTo>
                <a:lnTo>
                  <a:pt x="744" y="408"/>
                </a:lnTo>
                <a:lnTo>
                  <a:pt x="762" y="408"/>
                </a:lnTo>
                <a:lnTo>
                  <a:pt x="768" y="408"/>
                </a:lnTo>
                <a:lnTo>
                  <a:pt x="774" y="402"/>
                </a:lnTo>
                <a:lnTo>
                  <a:pt x="786" y="402"/>
                </a:lnTo>
                <a:lnTo>
                  <a:pt x="804" y="396"/>
                </a:lnTo>
                <a:lnTo>
                  <a:pt x="810" y="402"/>
                </a:lnTo>
                <a:lnTo>
                  <a:pt x="822" y="408"/>
                </a:lnTo>
                <a:lnTo>
                  <a:pt x="828" y="408"/>
                </a:lnTo>
                <a:lnTo>
                  <a:pt x="840" y="414"/>
                </a:lnTo>
                <a:lnTo>
                  <a:pt x="852" y="414"/>
                </a:lnTo>
                <a:lnTo>
                  <a:pt x="858" y="414"/>
                </a:lnTo>
                <a:lnTo>
                  <a:pt x="864" y="414"/>
                </a:lnTo>
                <a:lnTo>
                  <a:pt x="870" y="414"/>
                </a:lnTo>
                <a:lnTo>
                  <a:pt x="876" y="414"/>
                </a:lnTo>
                <a:lnTo>
                  <a:pt x="888" y="414"/>
                </a:lnTo>
                <a:lnTo>
                  <a:pt x="894" y="414"/>
                </a:lnTo>
                <a:lnTo>
                  <a:pt x="930" y="408"/>
                </a:lnTo>
                <a:lnTo>
                  <a:pt x="954" y="426"/>
                </a:lnTo>
                <a:lnTo>
                  <a:pt x="942" y="438"/>
                </a:lnTo>
                <a:lnTo>
                  <a:pt x="954" y="444"/>
                </a:lnTo>
                <a:lnTo>
                  <a:pt x="948" y="450"/>
                </a:lnTo>
                <a:lnTo>
                  <a:pt x="948" y="462"/>
                </a:lnTo>
                <a:lnTo>
                  <a:pt x="948" y="474"/>
                </a:lnTo>
                <a:lnTo>
                  <a:pt x="930" y="486"/>
                </a:lnTo>
                <a:lnTo>
                  <a:pt x="930" y="498"/>
                </a:lnTo>
                <a:lnTo>
                  <a:pt x="954" y="492"/>
                </a:lnTo>
                <a:lnTo>
                  <a:pt x="960" y="498"/>
                </a:lnTo>
                <a:lnTo>
                  <a:pt x="966" y="498"/>
                </a:lnTo>
                <a:lnTo>
                  <a:pt x="972" y="492"/>
                </a:lnTo>
                <a:lnTo>
                  <a:pt x="972" y="498"/>
                </a:lnTo>
                <a:lnTo>
                  <a:pt x="978" y="510"/>
                </a:lnTo>
                <a:lnTo>
                  <a:pt x="960" y="522"/>
                </a:lnTo>
                <a:lnTo>
                  <a:pt x="984" y="570"/>
                </a:lnTo>
                <a:lnTo>
                  <a:pt x="1002" y="594"/>
                </a:lnTo>
                <a:lnTo>
                  <a:pt x="1008" y="594"/>
                </a:lnTo>
                <a:lnTo>
                  <a:pt x="1032" y="624"/>
                </a:lnTo>
                <a:lnTo>
                  <a:pt x="1038" y="636"/>
                </a:lnTo>
                <a:lnTo>
                  <a:pt x="1044" y="642"/>
                </a:lnTo>
                <a:lnTo>
                  <a:pt x="1050" y="636"/>
                </a:lnTo>
                <a:lnTo>
                  <a:pt x="1062" y="624"/>
                </a:lnTo>
                <a:lnTo>
                  <a:pt x="1068" y="624"/>
                </a:lnTo>
                <a:lnTo>
                  <a:pt x="1086" y="618"/>
                </a:lnTo>
                <a:lnTo>
                  <a:pt x="1080" y="594"/>
                </a:lnTo>
                <a:lnTo>
                  <a:pt x="1074" y="588"/>
                </a:lnTo>
                <a:lnTo>
                  <a:pt x="1068" y="588"/>
                </a:lnTo>
                <a:lnTo>
                  <a:pt x="1056" y="594"/>
                </a:lnTo>
                <a:lnTo>
                  <a:pt x="1050" y="594"/>
                </a:lnTo>
                <a:lnTo>
                  <a:pt x="1050" y="588"/>
                </a:lnTo>
                <a:lnTo>
                  <a:pt x="1050" y="570"/>
                </a:lnTo>
                <a:lnTo>
                  <a:pt x="1056" y="570"/>
                </a:lnTo>
                <a:lnTo>
                  <a:pt x="1068" y="570"/>
                </a:lnTo>
                <a:lnTo>
                  <a:pt x="1074" y="558"/>
                </a:lnTo>
                <a:lnTo>
                  <a:pt x="1086" y="546"/>
                </a:lnTo>
                <a:lnTo>
                  <a:pt x="1092" y="540"/>
                </a:lnTo>
                <a:lnTo>
                  <a:pt x="1098" y="534"/>
                </a:lnTo>
                <a:lnTo>
                  <a:pt x="1104" y="522"/>
                </a:lnTo>
                <a:lnTo>
                  <a:pt x="1116" y="510"/>
                </a:lnTo>
                <a:lnTo>
                  <a:pt x="1122" y="504"/>
                </a:lnTo>
                <a:lnTo>
                  <a:pt x="1152" y="522"/>
                </a:lnTo>
                <a:lnTo>
                  <a:pt x="1158" y="528"/>
                </a:lnTo>
                <a:lnTo>
                  <a:pt x="1170" y="540"/>
                </a:lnTo>
                <a:lnTo>
                  <a:pt x="1194" y="558"/>
                </a:lnTo>
                <a:lnTo>
                  <a:pt x="1194" y="576"/>
                </a:lnTo>
                <a:lnTo>
                  <a:pt x="1194" y="588"/>
                </a:lnTo>
                <a:lnTo>
                  <a:pt x="1200" y="600"/>
                </a:lnTo>
                <a:lnTo>
                  <a:pt x="1188" y="612"/>
                </a:lnTo>
                <a:lnTo>
                  <a:pt x="1188" y="618"/>
                </a:lnTo>
                <a:lnTo>
                  <a:pt x="1194" y="624"/>
                </a:lnTo>
                <a:lnTo>
                  <a:pt x="1200" y="636"/>
                </a:lnTo>
                <a:lnTo>
                  <a:pt x="1206" y="648"/>
                </a:lnTo>
                <a:lnTo>
                  <a:pt x="1206" y="654"/>
                </a:lnTo>
                <a:lnTo>
                  <a:pt x="1206" y="660"/>
                </a:lnTo>
                <a:lnTo>
                  <a:pt x="1206" y="666"/>
                </a:lnTo>
                <a:lnTo>
                  <a:pt x="1218" y="678"/>
                </a:lnTo>
                <a:lnTo>
                  <a:pt x="1224" y="678"/>
                </a:lnTo>
                <a:lnTo>
                  <a:pt x="1236" y="684"/>
                </a:lnTo>
                <a:lnTo>
                  <a:pt x="1254" y="690"/>
                </a:lnTo>
                <a:lnTo>
                  <a:pt x="1254" y="696"/>
                </a:lnTo>
                <a:lnTo>
                  <a:pt x="1260" y="714"/>
                </a:lnTo>
                <a:lnTo>
                  <a:pt x="1272" y="714"/>
                </a:lnTo>
                <a:lnTo>
                  <a:pt x="1272" y="732"/>
                </a:lnTo>
                <a:lnTo>
                  <a:pt x="1278" y="744"/>
                </a:lnTo>
                <a:lnTo>
                  <a:pt x="1290" y="750"/>
                </a:lnTo>
                <a:lnTo>
                  <a:pt x="1308" y="762"/>
                </a:lnTo>
                <a:lnTo>
                  <a:pt x="1308" y="768"/>
                </a:lnTo>
                <a:lnTo>
                  <a:pt x="1308" y="774"/>
                </a:lnTo>
                <a:lnTo>
                  <a:pt x="1296" y="792"/>
                </a:lnTo>
                <a:lnTo>
                  <a:pt x="1320" y="810"/>
                </a:lnTo>
                <a:lnTo>
                  <a:pt x="1320" y="816"/>
                </a:lnTo>
                <a:lnTo>
                  <a:pt x="1308" y="834"/>
                </a:lnTo>
                <a:lnTo>
                  <a:pt x="1302" y="852"/>
                </a:lnTo>
                <a:lnTo>
                  <a:pt x="1302" y="858"/>
                </a:lnTo>
                <a:lnTo>
                  <a:pt x="1308" y="858"/>
                </a:lnTo>
                <a:lnTo>
                  <a:pt x="1314" y="870"/>
                </a:lnTo>
                <a:lnTo>
                  <a:pt x="1314" y="882"/>
                </a:lnTo>
                <a:lnTo>
                  <a:pt x="1314" y="888"/>
                </a:lnTo>
                <a:lnTo>
                  <a:pt x="1314" y="894"/>
                </a:lnTo>
                <a:lnTo>
                  <a:pt x="1320" y="900"/>
                </a:lnTo>
                <a:lnTo>
                  <a:pt x="1350" y="906"/>
                </a:lnTo>
                <a:lnTo>
                  <a:pt x="1350" y="912"/>
                </a:lnTo>
                <a:lnTo>
                  <a:pt x="1362" y="912"/>
                </a:lnTo>
                <a:lnTo>
                  <a:pt x="1386" y="930"/>
                </a:lnTo>
                <a:lnTo>
                  <a:pt x="1386" y="942"/>
                </a:lnTo>
                <a:lnTo>
                  <a:pt x="1404" y="942"/>
                </a:lnTo>
                <a:lnTo>
                  <a:pt x="1404" y="936"/>
                </a:lnTo>
                <a:lnTo>
                  <a:pt x="1398" y="912"/>
                </a:lnTo>
                <a:lnTo>
                  <a:pt x="1410" y="900"/>
                </a:lnTo>
                <a:lnTo>
                  <a:pt x="1422" y="888"/>
                </a:lnTo>
                <a:lnTo>
                  <a:pt x="1446" y="900"/>
                </a:lnTo>
                <a:lnTo>
                  <a:pt x="1452" y="888"/>
                </a:lnTo>
                <a:lnTo>
                  <a:pt x="1464" y="894"/>
                </a:lnTo>
                <a:lnTo>
                  <a:pt x="1470" y="888"/>
                </a:lnTo>
                <a:lnTo>
                  <a:pt x="1476" y="876"/>
                </a:lnTo>
                <a:lnTo>
                  <a:pt x="1494" y="888"/>
                </a:lnTo>
                <a:lnTo>
                  <a:pt x="1488" y="894"/>
                </a:lnTo>
                <a:lnTo>
                  <a:pt x="1482" y="906"/>
                </a:lnTo>
                <a:lnTo>
                  <a:pt x="1488" y="912"/>
                </a:lnTo>
                <a:lnTo>
                  <a:pt x="1476" y="924"/>
                </a:lnTo>
                <a:lnTo>
                  <a:pt x="1476" y="936"/>
                </a:lnTo>
                <a:lnTo>
                  <a:pt x="1458" y="960"/>
                </a:lnTo>
                <a:lnTo>
                  <a:pt x="1458" y="966"/>
                </a:lnTo>
                <a:lnTo>
                  <a:pt x="1470" y="990"/>
                </a:lnTo>
                <a:lnTo>
                  <a:pt x="1488" y="1002"/>
                </a:lnTo>
                <a:lnTo>
                  <a:pt x="1506" y="1008"/>
                </a:lnTo>
                <a:lnTo>
                  <a:pt x="1512" y="1008"/>
                </a:lnTo>
                <a:lnTo>
                  <a:pt x="1530" y="1020"/>
                </a:lnTo>
                <a:lnTo>
                  <a:pt x="1536" y="1026"/>
                </a:lnTo>
                <a:lnTo>
                  <a:pt x="1560" y="1032"/>
                </a:lnTo>
                <a:lnTo>
                  <a:pt x="1572" y="1050"/>
                </a:lnTo>
                <a:lnTo>
                  <a:pt x="1572" y="1056"/>
                </a:lnTo>
                <a:lnTo>
                  <a:pt x="1584" y="1074"/>
                </a:lnTo>
                <a:lnTo>
                  <a:pt x="1584" y="1086"/>
                </a:lnTo>
                <a:lnTo>
                  <a:pt x="1584" y="1104"/>
                </a:lnTo>
                <a:lnTo>
                  <a:pt x="1614" y="1116"/>
                </a:lnTo>
                <a:lnTo>
                  <a:pt x="1632" y="1122"/>
                </a:lnTo>
                <a:lnTo>
                  <a:pt x="1644" y="1134"/>
                </a:lnTo>
                <a:lnTo>
                  <a:pt x="1662" y="1134"/>
                </a:lnTo>
                <a:lnTo>
                  <a:pt x="1668" y="1134"/>
                </a:lnTo>
                <a:lnTo>
                  <a:pt x="1680" y="1140"/>
                </a:lnTo>
                <a:lnTo>
                  <a:pt x="1686" y="1140"/>
                </a:lnTo>
                <a:lnTo>
                  <a:pt x="1698" y="1152"/>
                </a:lnTo>
                <a:lnTo>
                  <a:pt x="1710" y="1152"/>
                </a:lnTo>
                <a:lnTo>
                  <a:pt x="1710" y="1158"/>
                </a:lnTo>
                <a:lnTo>
                  <a:pt x="1722" y="1158"/>
                </a:lnTo>
                <a:lnTo>
                  <a:pt x="1734" y="1164"/>
                </a:lnTo>
                <a:lnTo>
                  <a:pt x="1740" y="1164"/>
                </a:lnTo>
                <a:lnTo>
                  <a:pt x="1764" y="1176"/>
                </a:lnTo>
                <a:lnTo>
                  <a:pt x="1764" y="1182"/>
                </a:lnTo>
                <a:lnTo>
                  <a:pt x="1776" y="1194"/>
                </a:lnTo>
                <a:lnTo>
                  <a:pt x="1782" y="1194"/>
                </a:lnTo>
                <a:lnTo>
                  <a:pt x="1794" y="1212"/>
                </a:lnTo>
                <a:lnTo>
                  <a:pt x="1800" y="1224"/>
                </a:lnTo>
                <a:lnTo>
                  <a:pt x="1806" y="1242"/>
                </a:lnTo>
                <a:lnTo>
                  <a:pt x="1812" y="1248"/>
                </a:lnTo>
                <a:lnTo>
                  <a:pt x="1824" y="1254"/>
                </a:lnTo>
                <a:lnTo>
                  <a:pt x="1824" y="1272"/>
                </a:lnTo>
                <a:lnTo>
                  <a:pt x="1824" y="1278"/>
                </a:lnTo>
                <a:lnTo>
                  <a:pt x="1860" y="1296"/>
                </a:lnTo>
                <a:lnTo>
                  <a:pt x="1860" y="1320"/>
                </a:lnTo>
                <a:lnTo>
                  <a:pt x="1842" y="1326"/>
                </a:lnTo>
                <a:lnTo>
                  <a:pt x="1848" y="1338"/>
                </a:lnTo>
                <a:lnTo>
                  <a:pt x="1848" y="1350"/>
                </a:lnTo>
                <a:lnTo>
                  <a:pt x="1848" y="1404"/>
                </a:lnTo>
                <a:lnTo>
                  <a:pt x="1860" y="1416"/>
                </a:lnTo>
                <a:lnTo>
                  <a:pt x="1872" y="1416"/>
                </a:lnTo>
                <a:lnTo>
                  <a:pt x="1878" y="1416"/>
                </a:lnTo>
                <a:lnTo>
                  <a:pt x="1896" y="1416"/>
                </a:lnTo>
                <a:lnTo>
                  <a:pt x="1914" y="1416"/>
                </a:lnTo>
                <a:lnTo>
                  <a:pt x="1938" y="1434"/>
                </a:lnTo>
                <a:lnTo>
                  <a:pt x="1974" y="1452"/>
                </a:lnTo>
                <a:lnTo>
                  <a:pt x="1974" y="1470"/>
                </a:lnTo>
                <a:lnTo>
                  <a:pt x="1986" y="1470"/>
                </a:lnTo>
                <a:lnTo>
                  <a:pt x="2004" y="1506"/>
                </a:lnTo>
                <a:lnTo>
                  <a:pt x="1998" y="1518"/>
                </a:lnTo>
                <a:lnTo>
                  <a:pt x="1998" y="1530"/>
                </a:lnTo>
                <a:lnTo>
                  <a:pt x="1992" y="1536"/>
                </a:lnTo>
                <a:lnTo>
                  <a:pt x="1992" y="1566"/>
                </a:lnTo>
                <a:lnTo>
                  <a:pt x="1980" y="1584"/>
                </a:lnTo>
                <a:lnTo>
                  <a:pt x="1950" y="1608"/>
                </a:lnTo>
                <a:lnTo>
                  <a:pt x="1956" y="1626"/>
                </a:lnTo>
                <a:lnTo>
                  <a:pt x="1950" y="1638"/>
                </a:lnTo>
                <a:lnTo>
                  <a:pt x="1956" y="1650"/>
                </a:lnTo>
                <a:lnTo>
                  <a:pt x="1974" y="1674"/>
                </a:lnTo>
                <a:lnTo>
                  <a:pt x="1968" y="1680"/>
                </a:lnTo>
                <a:lnTo>
                  <a:pt x="1986" y="1686"/>
                </a:lnTo>
                <a:lnTo>
                  <a:pt x="1980" y="1704"/>
                </a:lnTo>
                <a:lnTo>
                  <a:pt x="1998" y="1710"/>
                </a:lnTo>
                <a:lnTo>
                  <a:pt x="2004" y="1728"/>
                </a:lnTo>
                <a:lnTo>
                  <a:pt x="2016" y="1734"/>
                </a:lnTo>
                <a:lnTo>
                  <a:pt x="2028" y="1758"/>
                </a:lnTo>
                <a:lnTo>
                  <a:pt x="2034" y="1782"/>
                </a:lnTo>
                <a:lnTo>
                  <a:pt x="2040" y="1782"/>
                </a:lnTo>
                <a:lnTo>
                  <a:pt x="2058" y="1782"/>
                </a:lnTo>
                <a:lnTo>
                  <a:pt x="2058" y="1788"/>
                </a:lnTo>
                <a:lnTo>
                  <a:pt x="2064" y="1794"/>
                </a:lnTo>
                <a:lnTo>
                  <a:pt x="2064" y="1812"/>
                </a:lnTo>
                <a:lnTo>
                  <a:pt x="2064" y="1818"/>
                </a:lnTo>
                <a:lnTo>
                  <a:pt x="2034" y="1848"/>
                </a:lnTo>
                <a:lnTo>
                  <a:pt x="2022" y="1842"/>
                </a:lnTo>
                <a:lnTo>
                  <a:pt x="2004" y="1842"/>
                </a:lnTo>
                <a:lnTo>
                  <a:pt x="1956" y="1872"/>
                </a:lnTo>
                <a:lnTo>
                  <a:pt x="1944" y="1884"/>
                </a:lnTo>
                <a:lnTo>
                  <a:pt x="1932" y="1890"/>
                </a:lnTo>
                <a:lnTo>
                  <a:pt x="1926" y="1902"/>
                </a:lnTo>
                <a:lnTo>
                  <a:pt x="1914" y="1908"/>
                </a:lnTo>
                <a:lnTo>
                  <a:pt x="1908" y="1920"/>
                </a:lnTo>
                <a:lnTo>
                  <a:pt x="1908" y="1926"/>
                </a:lnTo>
                <a:lnTo>
                  <a:pt x="1902" y="1938"/>
                </a:lnTo>
                <a:lnTo>
                  <a:pt x="1896" y="1968"/>
                </a:lnTo>
                <a:lnTo>
                  <a:pt x="1896" y="1974"/>
                </a:lnTo>
                <a:lnTo>
                  <a:pt x="1872" y="1962"/>
                </a:lnTo>
                <a:lnTo>
                  <a:pt x="1860" y="1962"/>
                </a:lnTo>
                <a:lnTo>
                  <a:pt x="1854" y="1962"/>
                </a:lnTo>
                <a:lnTo>
                  <a:pt x="1836" y="1956"/>
                </a:lnTo>
                <a:lnTo>
                  <a:pt x="1818" y="1956"/>
                </a:lnTo>
                <a:lnTo>
                  <a:pt x="1794" y="1938"/>
                </a:lnTo>
                <a:lnTo>
                  <a:pt x="1776" y="1932"/>
                </a:lnTo>
                <a:lnTo>
                  <a:pt x="1764" y="1932"/>
                </a:lnTo>
                <a:lnTo>
                  <a:pt x="1752" y="1920"/>
                </a:lnTo>
                <a:lnTo>
                  <a:pt x="1746" y="1920"/>
                </a:lnTo>
                <a:lnTo>
                  <a:pt x="1728" y="2016"/>
                </a:lnTo>
                <a:lnTo>
                  <a:pt x="1716" y="2028"/>
                </a:lnTo>
                <a:lnTo>
                  <a:pt x="1704" y="2028"/>
                </a:lnTo>
                <a:lnTo>
                  <a:pt x="1692" y="2022"/>
                </a:lnTo>
                <a:lnTo>
                  <a:pt x="1662" y="2016"/>
                </a:lnTo>
                <a:lnTo>
                  <a:pt x="1626" y="2022"/>
                </a:lnTo>
                <a:lnTo>
                  <a:pt x="1602" y="1992"/>
                </a:lnTo>
                <a:lnTo>
                  <a:pt x="1578" y="1980"/>
                </a:lnTo>
                <a:lnTo>
                  <a:pt x="1566" y="1974"/>
                </a:lnTo>
                <a:lnTo>
                  <a:pt x="1548" y="1968"/>
                </a:lnTo>
                <a:lnTo>
                  <a:pt x="1530" y="1962"/>
                </a:lnTo>
                <a:lnTo>
                  <a:pt x="1494" y="1944"/>
                </a:lnTo>
                <a:lnTo>
                  <a:pt x="1488" y="1944"/>
                </a:lnTo>
                <a:lnTo>
                  <a:pt x="1476" y="1938"/>
                </a:lnTo>
                <a:lnTo>
                  <a:pt x="1440" y="1914"/>
                </a:lnTo>
                <a:lnTo>
                  <a:pt x="1422" y="1902"/>
                </a:lnTo>
                <a:lnTo>
                  <a:pt x="1404" y="1890"/>
                </a:lnTo>
                <a:lnTo>
                  <a:pt x="1386" y="1860"/>
                </a:lnTo>
                <a:lnTo>
                  <a:pt x="1380" y="1842"/>
                </a:lnTo>
                <a:lnTo>
                  <a:pt x="1380" y="1818"/>
                </a:lnTo>
                <a:lnTo>
                  <a:pt x="1380" y="1794"/>
                </a:lnTo>
                <a:lnTo>
                  <a:pt x="1374" y="1782"/>
                </a:lnTo>
                <a:lnTo>
                  <a:pt x="1362" y="1758"/>
                </a:lnTo>
                <a:lnTo>
                  <a:pt x="1350" y="1740"/>
                </a:lnTo>
                <a:lnTo>
                  <a:pt x="1326" y="1728"/>
                </a:lnTo>
                <a:lnTo>
                  <a:pt x="1314" y="1752"/>
                </a:lnTo>
                <a:lnTo>
                  <a:pt x="1290" y="1764"/>
                </a:lnTo>
                <a:lnTo>
                  <a:pt x="1266" y="1764"/>
                </a:lnTo>
                <a:lnTo>
                  <a:pt x="1242" y="1764"/>
                </a:lnTo>
                <a:lnTo>
                  <a:pt x="1224" y="1758"/>
                </a:lnTo>
                <a:lnTo>
                  <a:pt x="1224" y="1764"/>
                </a:lnTo>
                <a:lnTo>
                  <a:pt x="1218" y="1770"/>
                </a:lnTo>
                <a:lnTo>
                  <a:pt x="1212" y="1794"/>
                </a:lnTo>
                <a:lnTo>
                  <a:pt x="1212" y="1812"/>
                </a:lnTo>
                <a:lnTo>
                  <a:pt x="1218" y="1824"/>
                </a:lnTo>
                <a:lnTo>
                  <a:pt x="1224" y="1836"/>
                </a:lnTo>
                <a:lnTo>
                  <a:pt x="1224" y="1842"/>
                </a:lnTo>
                <a:lnTo>
                  <a:pt x="1218" y="1860"/>
                </a:lnTo>
                <a:lnTo>
                  <a:pt x="1212" y="1878"/>
                </a:lnTo>
                <a:lnTo>
                  <a:pt x="1182" y="1884"/>
                </a:lnTo>
                <a:lnTo>
                  <a:pt x="1176" y="1872"/>
                </a:lnTo>
                <a:lnTo>
                  <a:pt x="1158" y="1878"/>
                </a:lnTo>
                <a:lnTo>
                  <a:pt x="1140" y="1872"/>
                </a:lnTo>
                <a:lnTo>
                  <a:pt x="1134" y="1866"/>
                </a:lnTo>
                <a:lnTo>
                  <a:pt x="1128" y="1866"/>
                </a:lnTo>
                <a:lnTo>
                  <a:pt x="1110" y="1896"/>
                </a:lnTo>
                <a:lnTo>
                  <a:pt x="1098" y="1920"/>
                </a:lnTo>
                <a:lnTo>
                  <a:pt x="1092" y="1932"/>
                </a:lnTo>
                <a:lnTo>
                  <a:pt x="1086" y="1932"/>
                </a:lnTo>
                <a:lnTo>
                  <a:pt x="1068" y="1944"/>
                </a:lnTo>
                <a:lnTo>
                  <a:pt x="1050" y="1944"/>
                </a:lnTo>
                <a:lnTo>
                  <a:pt x="1044" y="1944"/>
                </a:lnTo>
                <a:lnTo>
                  <a:pt x="1032" y="1956"/>
                </a:lnTo>
                <a:lnTo>
                  <a:pt x="1026" y="1962"/>
                </a:lnTo>
                <a:lnTo>
                  <a:pt x="1014" y="1986"/>
                </a:lnTo>
                <a:lnTo>
                  <a:pt x="1008" y="1968"/>
                </a:lnTo>
                <a:lnTo>
                  <a:pt x="990" y="1950"/>
                </a:lnTo>
                <a:lnTo>
                  <a:pt x="972" y="1938"/>
                </a:lnTo>
                <a:lnTo>
                  <a:pt x="966" y="1908"/>
                </a:lnTo>
                <a:lnTo>
                  <a:pt x="966" y="1902"/>
                </a:lnTo>
                <a:lnTo>
                  <a:pt x="972" y="1878"/>
                </a:lnTo>
                <a:lnTo>
                  <a:pt x="978" y="1860"/>
                </a:lnTo>
                <a:lnTo>
                  <a:pt x="996" y="1848"/>
                </a:lnTo>
                <a:lnTo>
                  <a:pt x="996" y="1836"/>
                </a:lnTo>
                <a:lnTo>
                  <a:pt x="1008" y="1794"/>
                </a:lnTo>
                <a:lnTo>
                  <a:pt x="1002" y="1794"/>
                </a:lnTo>
                <a:lnTo>
                  <a:pt x="984" y="1794"/>
                </a:lnTo>
                <a:lnTo>
                  <a:pt x="960" y="1782"/>
                </a:lnTo>
                <a:lnTo>
                  <a:pt x="942" y="1764"/>
                </a:lnTo>
                <a:lnTo>
                  <a:pt x="930" y="1746"/>
                </a:lnTo>
                <a:lnTo>
                  <a:pt x="906" y="1752"/>
                </a:lnTo>
                <a:lnTo>
                  <a:pt x="882" y="1752"/>
                </a:lnTo>
                <a:lnTo>
                  <a:pt x="870" y="1764"/>
                </a:lnTo>
                <a:lnTo>
                  <a:pt x="852" y="1770"/>
                </a:lnTo>
                <a:lnTo>
                  <a:pt x="858" y="1788"/>
                </a:lnTo>
                <a:lnTo>
                  <a:pt x="852" y="1800"/>
                </a:lnTo>
                <a:lnTo>
                  <a:pt x="846" y="1824"/>
                </a:lnTo>
                <a:lnTo>
                  <a:pt x="840" y="1824"/>
                </a:lnTo>
                <a:lnTo>
                  <a:pt x="834" y="1836"/>
                </a:lnTo>
                <a:lnTo>
                  <a:pt x="828" y="1848"/>
                </a:lnTo>
                <a:lnTo>
                  <a:pt x="816" y="1836"/>
                </a:lnTo>
                <a:lnTo>
                  <a:pt x="762" y="1848"/>
                </a:lnTo>
                <a:lnTo>
                  <a:pt x="744" y="1866"/>
                </a:lnTo>
                <a:lnTo>
                  <a:pt x="738" y="1872"/>
                </a:lnTo>
                <a:lnTo>
                  <a:pt x="744" y="1902"/>
                </a:lnTo>
                <a:lnTo>
                  <a:pt x="720" y="1920"/>
                </a:lnTo>
                <a:lnTo>
                  <a:pt x="708" y="1938"/>
                </a:lnTo>
                <a:lnTo>
                  <a:pt x="696" y="1956"/>
                </a:lnTo>
                <a:lnTo>
                  <a:pt x="678" y="1962"/>
                </a:lnTo>
                <a:lnTo>
                  <a:pt x="672" y="1968"/>
                </a:lnTo>
                <a:lnTo>
                  <a:pt x="666" y="1974"/>
                </a:lnTo>
                <a:lnTo>
                  <a:pt x="654" y="1980"/>
                </a:lnTo>
                <a:lnTo>
                  <a:pt x="642" y="1968"/>
                </a:lnTo>
                <a:lnTo>
                  <a:pt x="612" y="1968"/>
                </a:lnTo>
                <a:lnTo>
                  <a:pt x="588" y="1968"/>
                </a:lnTo>
                <a:lnTo>
                  <a:pt x="570" y="1944"/>
                </a:lnTo>
                <a:lnTo>
                  <a:pt x="558" y="1944"/>
                </a:lnTo>
                <a:lnTo>
                  <a:pt x="546" y="1944"/>
                </a:lnTo>
                <a:lnTo>
                  <a:pt x="534" y="1944"/>
                </a:lnTo>
                <a:lnTo>
                  <a:pt x="516" y="1944"/>
                </a:lnTo>
                <a:lnTo>
                  <a:pt x="492" y="1944"/>
                </a:lnTo>
                <a:lnTo>
                  <a:pt x="504" y="1974"/>
                </a:lnTo>
                <a:lnTo>
                  <a:pt x="528" y="1986"/>
                </a:lnTo>
                <a:lnTo>
                  <a:pt x="528" y="1998"/>
                </a:lnTo>
                <a:lnTo>
                  <a:pt x="522" y="2010"/>
                </a:lnTo>
                <a:lnTo>
                  <a:pt x="510" y="2010"/>
                </a:lnTo>
                <a:lnTo>
                  <a:pt x="504" y="1998"/>
                </a:lnTo>
                <a:lnTo>
                  <a:pt x="480" y="1980"/>
                </a:lnTo>
                <a:lnTo>
                  <a:pt x="420" y="1944"/>
                </a:lnTo>
                <a:lnTo>
                  <a:pt x="408" y="1920"/>
                </a:lnTo>
                <a:lnTo>
                  <a:pt x="396" y="1896"/>
                </a:lnTo>
                <a:lnTo>
                  <a:pt x="384" y="1860"/>
                </a:lnTo>
                <a:lnTo>
                  <a:pt x="372" y="1830"/>
                </a:lnTo>
                <a:lnTo>
                  <a:pt x="360" y="1800"/>
                </a:lnTo>
                <a:lnTo>
                  <a:pt x="354" y="1776"/>
                </a:lnTo>
                <a:lnTo>
                  <a:pt x="354" y="1770"/>
                </a:lnTo>
                <a:lnTo>
                  <a:pt x="354" y="1758"/>
                </a:lnTo>
                <a:lnTo>
                  <a:pt x="360" y="1734"/>
                </a:lnTo>
                <a:lnTo>
                  <a:pt x="360" y="1704"/>
                </a:lnTo>
                <a:lnTo>
                  <a:pt x="366" y="1680"/>
                </a:lnTo>
                <a:lnTo>
                  <a:pt x="378" y="1662"/>
                </a:lnTo>
                <a:lnTo>
                  <a:pt x="390" y="1632"/>
                </a:lnTo>
                <a:lnTo>
                  <a:pt x="396" y="1590"/>
                </a:lnTo>
                <a:lnTo>
                  <a:pt x="396" y="1572"/>
                </a:lnTo>
                <a:lnTo>
                  <a:pt x="396" y="1554"/>
                </a:lnTo>
                <a:lnTo>
                  <a:pt x="390" y="1536"/>
                </a:lnTo>
                <a:lnTo>
                  <a:pt x="378" y="1530"/>
                </a:lnTo>
                <a:lnTo>
                  <a:pt x="366" y="1524"/>
                </a:lnTo>
                <a:lnTo>
                  <a:pt x="360" y="1536"/>
                </a:lnTo>
                <a:lnTo>
                  <a:pt x="354" y="1536"/>
                </a:lnTo>
                <a:lnTo>
                  <a:pt x="336" y="1524"/>
                </a:lnTo>
                <a:lnTo>
                  <a:pt x="342" y="1500"/>
                </a:lnTo>
                <a:lnTo>
                  <a:pt x="342" y="1488"/>
                </a:lnTo>
                <a:lnTo>
                  <a:pt x="306" y="1488"/>
                </a:lnTo>
                <a:lnTo>
                  <a:pt x="312" y="1464"/>
                </a:lnTo>
                <a:lnTo>
                  <a:pt x="288" y="1440"/>
                </a:lnTo>
                <a:lnTo>
                  <a:pt x="270" y="1416"/>
                </a:lnTo>
                <a:lnTo>
                  <a:pt x="264" y="1410"/>
                </a:lnTo>
                <a:lnTo>
                  <a:pt x="246" y="1428"/>
                </a:lnTo>
                <a:lnTo>
                  <a:pt x="246" y="1422"/>
                </a:lnTo>
                <a:lnTo>
                  <a:pt x="246" y="1416"/>
                </a:lnTo>
                <a:lnTo>
                  <a:pt x="228" y="1392"/>
                </a:lnTo>
                <a:lnTo>
                  <a:pt x="222" y="1392"/>
                </a:lnTo>
                <a:lnTo>
                  <a:pt x="216" y="1386"/>
                </a:lnTo>
                <a:lnTo>
                  <a:pt x="198" y="1380"/>
                </a:lnTo>
                <a:lnTo>
                  <a:pt x="192" y="1374"/>
                </a:lnTo>
                <a:lnTo>
                  <a:pt x="186" y="1344"/>
                </a:lnTo>
                <a:lnTo>
                  <a:pt x="168" y="1332"/>
                </a:lnTo>
                <a:lnTo>
                  <a:pt x="156" y="1314"/>
                </a:lnTo>
                <a:lnTo>
                  <a:pt x="156" y="1308"/>
                </a:lnTo>
                <a:lnTo>
                  <a:pt x="156" y="1302"/>
                </a:lnTo>
                <a:lnTo>
                  <a:pt x="168" y="1296"/>
                </a:lnTo>
                <a:lnTo>
                  <a:pt x="168" y="1290"/>
                </a:lnTo>
                <a:lnTo>
                  <a:pt x="186" y="1266"/>
                </a:lnTo>
                <a:lnTo>
                  <a:pt x="180" y="1260"/>
                </a:lnTo>
                <a:lnTo>
                  <a:pt x="186" y="1254"/>
                </a:lnTo>
                <a:lnTo>
                  <a:pt x="186" y="1248"/>
                </a:lnTo>
                <a:lnTo>
                  <a:pt x="186" y="1236"/>
                </a:lnTo>
                <a:lnTo>
                  <a:pt x="174" y="1224"/>
                </a:lnTo>
                <a:lnTo>
                  <a:pt x="138" y="1176"/>
                </a:lnTo>
                <a:lnTo>
                  <a:pt x="126" y="1164"/>
                </a:lnTo>
                <a:lnTo>
                  <a:pt x="108" y="1152"/>
                </a:lnTo>
                <a:lnTo>
                  <a:pt x="90" y="1152"/>
                </a:lnTo>
                <a:lnTo>
                  <a:pt x="78" y="1146"/>
                </a:lnTo>
                <a:lnTo>
                  <a:pt x="72" y="1140"/>
                </a:lnTo>
                <a:lnTo>
                  <a:pt x="72" y="1134"/>
                </a:lnTo>
                <a:lnTo>
                  <a:pt x="72" y="1128"/>
                </a:lnTo>
                <a:lnTo>
                  <a:pt x="72" y="1116"/>
                </a:lnTo>
                <a:lnTo>
                  <a:pt x="66" y="1110"/>
                </a:lnTo>
                <a:lnTo>
                  <a:pt x="60" y="1104"/>
                </a:lnTo>
                <a:lnTo>
                  <a:pt x="30" y="1080"/>
                </a:lnTo>
                <a:lnTo>
                  <a:pt x="24" y="1068"/>
                </a:lnTo>
                <a:lnTo>
                  <a:pt x="24" y="1050"/>
                </a:lnTo>
                <a:lnTo>
                  <a:pt x="24" y="1032"/>
                </a:lnTo>
                <a:lnTo>
                  <a:pt x="36" y="1014"/>
                </a:lnTo>
                <a:lnTo>
                  <a:pt x="30" y="1008"/>
                </a:lnTo>
                <a:lnTo>
                  <a:pt x="24" y="984"/>
                </a:lnTo>
                <a:lnTo>
                  <a:pt x="24" y="972"/>
                </a:lnTo>
                <a:lnTo>
                  <a:pt x="30" y="960"/>
                </a:lnTo>
                <a:lnTo>
                  <a:pt x="42" y="948"/>
                </a:lnTo>
                <a:lnTo>
                  <a:pt x="48" y="942"/>
                </a:lnTo>
                <a:lnTo>
                  <a:pt x="48" y="936"/>
                </a:lnTo>
                <a:lnTo>
                  <a:pt x="48" y="924"/>
                </a:lnTo>
                <a:lnTo>
                  <a:pt x="54" y="918"/>
                </a:lnTo>
                <a:lnTo>
                  <a:pt x="54" y="912"/>
                </a:lnTo>
                <a:lnTo>
                  <a:pt x="60" y="906"/>
                </a:lnTo>
                <a:lnTo>
                  <a:pt x="66" y="900"/>
                </a:lnTo>
                <a:lnTo>
                  <a:pt x="72" y="894"/>
                </a:lnTo>
                <a:lnTo>
                  <a:pt x="72" y="882"/>
                </a:lnTo>
                <a:lnTo>
                  <a:pt x="78" y="870"/>
                </a:lnTo>
                <a:lnTo>
                  <a:pt x="96" y="864"/>
                </a:lnTo>
                <a:lnTo>
                  <a:pt x="108" y="858"/>
                </a:lnTo>
                <a:lnTo>
                  <a:pt x="120" y="852"/>
                </a:lnTo>
                <a:lnTo>
                  <a:pt x="126" y="846"/>
                </a:lnTo>
                <a:lnTo>
                  <a:pt x="126" y="834"/>
                </a:lnTo>
                <a:lnTo>
                  <a:pt x="114" y="834"/>
                </a:lnTo>
                <a:lnTo>
                  <a:pt x="96" y="822"/>
                </a:lnTo>
                <a:lnTo>
                  <a:pt x="84" y="822"/>
                </a:lnTo>
                <a:lnTo>
                  <a:pt x="78" y="816"/>
                </a:lnTo>
                <a:lnTo>
                  <a:pt x="96" y="810"/>
                </a:lnTo>
                <a:lnTo>
                  <a:pt x="108" y="810"/>
                </a:lnTo>
                <a:lnTo>
                  <a:pt x="114" y="798"/>
                </a:lnTo>
                <a:lnTo>
                  <a:pt x="120" y="792"/>
                </a:lnTo>
                <a:lnTo>
                  <a:pt x="120" y="786"/>
                </a:lnTo>
                <a:lnTo>
                  <a:pt x="126" y="792"/>
                </a:lnTo>
                <a:lnTo>
                  <a:pt x="132" y="792"/>
                </a:lnTo>
                <a:lnTo>
                  <a:pt x="138" y="798"/>
                </a:lnTo>
                <a:lnTo>
                  <a:pt x="150" y="804"/>
                </a:lnTo>
                <a:lnTo>
                  <a:pt x="156" y="804"/>
                </a:lnTo>
                <a:lnTo>
                  <a:pt x="174" y="816"/>
                </a:lnTo>
                <a:lnTo>
                  <a:pt x="180" y="810"/>
                </a:lnTo>
                <a:lnTo>
                  <a:pt x="186" y="810"/>
                </a:lnTo>
                <a:lnTo>
                  <a:pt x="192" y="804"/>
                </a:lnTo>
                <a:lnTo>
                  <a:pt x="210" y="804"/>
                </a:lnTo>
                <a:lnTo>
                  <a:pt x="222" y="804"/>
                </a:lnTo>
                <a:lnTo>
                  <a:pt x="222" y="798"/>
                </a:lnTo>
                <a:lnTo>
                  <a:pt x="222" y="774"/>
                </a:lnTo>
                <a:lnTo>
                  <a:pt x="222" y="762"/>
                </a:lnTo>
                <a:lnTo>
                  <a:pt x="222" y="750"/>
                </a:lnTo>
                <a:lnTo>
                  <a:pt x="216" y="744"/>
                </a:lnTo>
                <a:lnTo>
                  <a:pt x="216" y="738"/>
                </a:lnTo>
                <a:lnTo>
                  <a:pt x="210" y="732"/>
                </a:lnTo>
                <a:lnTo>
                  <a:pt x="204" y="720"/>
                </a:lnTo>
                <a:lnTo>
                  <a:pt x="204" y="714"/>
                </a:lnTo>
                <a:lnTo>
                  <a:pt x="204" y="708"/>
                </a:lnTo>
                <a:lnTo>
                  <a:pt x="204" y="696"/>
                </a:lnTo>
                <a:lnTo>
                  <a:pt x="204" y="684"/>
                </a:lnTo>
                <a:lnTo>
                  <a:pt x="210" y="678"/>
                </a:lnTo>
                <a:lnTo>
                  <a:pt x="222" y="678"/>
                </a:lnTo>
                <a:lnTo>
                  <a:pt x="234" y="678"/>
                </a:lnTo>
                <a:lnTo>
                  <a:pt x="240" y="684"/>
                </a:lnTo>
                <a:lnTo>
                  <a:pt x="246" y="678"/>
                </a:lnTo>
                <a:lnTo>
                  <a:pt x="258" y="666"/>
                </a:lnTo>
                <a:lnTo>
                  <a:pt x="264" y="660"/>
                </a:lnTo>
                <a:lnTo>
                  <a:pt x="270" y="660"/>
                </a:lnTo>
                <a:lnTo>
                  <a:pt x="276" y="660"/>
                </a:lnTo>
                <a:lnTo>
                  <a:pt x="282" y="666"/>
                </a:lnTo>
                <a:lnTo>
                  <a:pt x="294" y="678"/>
                </a:lnTo>
                <a:lnTo>
                  <a:pt x="318" y="648"/>
                </a:lnTo>
                <a:lnTo>
                  <a:pt x="312" y="648"/>
                </a:lnTo>
                <a:lnTo>
                  <a:pt x="306" y="642"/>
                </a:lnTo>
                <a:lnTo>
                  <a:pt x="300" y="642"/>
                </a:lnTo>
                <a:lnTo>
                  <a:pt x="288" y="630"/>
                </a:lnTo>
                <a:lnTo>
                  <a:pt x="282" y="624"/>
                </a:lnTo>
                <a:lnTo>
                  <a:pt x="282" y="612"/>
                </a:lnTo>
                <a:lnTo>
                  <a:pt x="282" y="600"/>
                </a:lnTo>
                <a:lnTo>
                  <a:pt x="282" y="594"/>
                </a:lnTo>
                <a:lnTo>
                  <a:pt x="282" y="588"/>
                </a:lnTo>
                <a:lnTo>
                  <a:pt x="288" y="576"/>
                </a:lnTo>
                <a:lnTo>
                  <a:pt x="282" y="570"/>
                </a:lnTo>
                <a:lnTo>
                  <a:pt x="276" y="570"/>
                </a:lnTo>
                <a:lnTo>
                  <a:pt x="270" y="564"/>
                </a:lnTo>
                <a:lnTo>
                  <a:pt x="264" y="558"/>
                </a:lnTo>
                <a:lnTo>
                  <a:pt x="252" y="546"/>
                </a:lnTo>
                <a:lnTo>
                  <a:pt x="246" y="522"/>
                </a:lnTo>
                <a:lnTo>
                  <a:pt x="240" y="504"/>
                </a:lnTo>
                <a:lnTo>
                  <a:pt x="234" y="498"/>
                </a:lnTo>
                <a:lnTo>
                  <a:pt x="222" y="492"/>
                </a:lnTo>
                <a:lnTo>
                  <a:pt x="210" y="492"/>
                </a:lnTo>
                <a:lnTo>
                  <a:pt x="192" y="492"/>
                </a:lnTo>
                <a:lnTo>
                  <a:pt x="186" y="486"/>
                </a:lnTo>
                <a:lnTo>
                  <a:pt x="180" y="486"/>
                </a:lnTo>
                <a:lnTo>
                  <a:pt x="162" y="480"/>
                </a:lnTo>
                <a:lnTo>
                  <a:pt x="168" y="468"/>
                </a:lnTo>
                <a:lnTo>
                  <a:pt x="168" y="462"/>
                </a:lnTo>
                <a:lnTo>
                  <a:pt x="168" y="456"/>
                </a:lnTo>
                <a:lnTo>
                  <a:pt x="156" y="456"/>
                </a:lnTo>
                <a:lnTo>
                  <a:pt x="150" y="456"/>
                </a:lnTo>
                <a:lnTo>
                  <a:pt x="132" y="456"/>
                </a:lnTo>
                <a:lnTo>
                  <a:pt x="132" y="450"/>
                </a:lnTo>
                <a:lnTo>
                  <a:pt x="126" y="450"/>
                </a:lnTo>
                <a:lnTo>
                  <a:pt x="120" y="438"/>
                </a:lnTo>
                <a:lnTo>
                  <a:pt x="120" y="426"/>
                </a:lnTo>
                <a:lnTo>
                  <a:pt x="114" y="420"/>
                </a:lnTo>
                <a:lnTo>
                  <a:pt x="108" y="420"/>
                </a:lnTo>
                <a:lnTo>
                  <a:pt x="102" y="420"/>
                </a:lnTo>
                <a:lnTo>
                  <a:pt x="90" y="414"/>
                </a:lnTo>
                <a:lnTo>
                  <a:pt x="84" y="414"/>
                </a:lnTo>
                <a:lnTo>
                  <a:pt x="84" y="408"/>
                </a:lnTo>
                <a:lnTo>
                  <a:pt x="72" y="402"/>
                </a:lnTo>
                <a:lnTo>
                  <a:pt x="72" y="396"/>
                </a:lnTo>
                <a:lnTo>
                  <a:pt x="60" y="396"/>
                </a:lnTo>
                <a:lnTo>
                  <a:pt x="54" y="390"/>
                </a:lnTo>
                <a:lnTo>
                  <a:pt x="48" y="390"/>
                </a:lnTo>
                <a:lnTo>
                  <a:pt x="42" y="384"/>
                </a:lnTo>
                <a:lnTo>
                  <a:pt x="36" y="384"/>
                </a:lnTo>
                <a:lnTo>
                  <a:pt x="36" y="360"/>
                </a:lnTo>
                <a:lnTo>
                  <a:pt x="30" y="354"/>
                </a:lnTo>
                <a:lnTo>
                  <a:pt x="30" y="348"/>
                </a:lnTo>
                <a:lnTo>
                  <a:pt x="24" y="330"/>
                </a:lnTo>
                <a:lnTo>
                  <a:pt x="24" y="324"/>
                </a:lnTo>
                <a:lnTo>
                  <a:pt x="24" y="318"/>
                </a:lnTo>
                <a:lnTo>
                  <a:pt x="24" y="312"/>
                </a:lnTo>
                <a:lnTo>
                  <a:pt x="24" y="306"/>
                </a:lnTo>
                <a:lnTo>
                  <a:pt x="18" y="294"/>
                </a:lnTo>
                <a:lnTo>
                  <a:pt x="18" y="288"/>
                </a:lnTo>
                <a:lnTo>
                  <a:pt x="24" y="288"/>
                </a:lnTo>
                <a:lnTo>
                  <a:pt x="24" y="282"/>
                </a:lnTo>
                <a:lnTo>
                  <a:pt x="36" y="270"/>
                </a:lnTo>
                <a:lnTo>
                  <a:pt x="36" y="264"/>
                </a:lnTo>
                <a:lnTo>
                  <a:pt x="30" y="258"/>
                </a:lnTo>
                <a:lnTo>
                  <a:pt x="36" y="252"/>
                </a:lnTo>
                <a:lnTo>
                  <a:pt x="30" y="246"/>
                </a:lnTo>
                <a:lnTo>
                  <a:pt x="30" y="240"/>
                </a:lnTo>
                <a:lnTo>
                  <a:pt x="30" y="234"/>
                </a:lnTo>
                <a:lnTo>
                  <a:pt x="30" y="228"/>
                </a:lnTo>
                <a:lnTo>
                  <a:pt x="30" y="216"/>
                </a:lnTo>
                <a:lnTo>
                  <a:pt x="30" y="210"/>
                </a:lnTo>
                <a:lnTo>
                  <a:pt x="24" y="210"/>
                </a:lnTo>
                <a:lnTo>
                  <a:pt x="18" y="204"/>
                </a:lnTo>
                <a:lnTo>
                  <a:pt x="12" y="198"/>
                </a:lnTo>
                <a:lnTo>
                  <a:pt x="0" y="192"/>
                </a:lnTo>
                <a:lnTo>
                  <a:pt x="0" y="180"/>
                </a:lnTo>
                <a:lnTo>
                  <a:pt x="6" y="174"/>
                </a:lnTo>
                <a:lnTo>
                  <a:pt x="12" y="174"/>
                </a:lnTo>
                <a:lnTo>
                  <a:pt x="12" y="162"/>
                </a:lnTo>
                <a:lnTo>
                  <a:pt x="18" y="162"/>
                </a:lnTo>
                <a:lnTo>
                  <a:pt x="30" y="162"/>
                </a:lnTo>
                <a:lnTo>
                  <a:pt x="36" y="162"/>
                </a:lnTo>
                <a:lnTo>
                  <a:pt x="42" y="162"/>
                </a:lnTo>
                <a:lnTo>
                  <a:pt x="48" y="156"/>
                </a:lnTo>
                <a:lnTo>
                  <a:pt x="60" y="162"/>
                </a:lnTo>
                <a:lnTo>
                  <a:pt x="66" y="156"/>
                </a:lnTo>
                <a:lnTo>
                  <a:pt x="72" y="150"/>
                </a:lnTo>
                <a:lnTo>
                  <a:pt x="72" y="144"/>
                </a:lnTo>
                <a:lnTo>
                  <a:pt x="72" y="138"/>
                </a:lnTo>
                <a:lnTo>
                  <a:pt x="78" y="126"/>
                </a:lnTo>
                <a:lnTo>
                  <a:pt x="78" y="114"/>
                </a:lnTo>
                <a:lnTo>
                  <a:pt x="78" y="108"/>
                </a:lnTo>
                <a:lnTo>
                  <a:pt x="72" y="102"/>
                </a:lnTo>
                <a:lnTo>
                  <a:pt x="72" y="96"/>
                </a:lnTo>
                <a:lnTo>
                  <a:pt x="72" y="84"/>
                </a:lnTo>
                <a:lnTo>
                  <a:pt x="78" y="72"/>
                </a:lnTo>
                <a:lnTo>
                  <a:pt x="78" y="66"/>
                </a:lnTo>
                <a:lnTo>
                  <a:pt x="78" y="60"/>
                </a:lnTo>
                <a:lnTo>
                  <a:pt x="72" y="54"/>
                </a:lnTo>
                <a:lnTo>
                  <a:pt x="72" y="48"/>
                </a:lnTo>
                <a:lnTo>
                  <a:pt x="72" y="42"/>
                </a:lnTo>
                <a:lnTo>
                  <a:pt x="78" y="36"/>
                </a:lnTo>
                <a:lnTo>
                  <a:pt x="84" y="36"/>
                </a:lnTo>
                <a:lnTo>
                  <a:pt x="84" y="30"/>
                </a:lnTo>
                <a:lnTo>
                  <a:pt x="90" y="24"/>
                </a:lnTo>
                <a:lnTo>
                  <a:pt x="96" y="24"/>
                </a:lnTo>
                <a:lnTo>
                  <a:pt x="102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24"/>
                </a:lnTo>
                <a:lnTo>
                  <a:pt x="132" y="24"/>
                </a:lnTo>
                <a:lnTo>
                  <a:pt x="144" y="18"/>
                </a:lnTo>
                <a:lnTo>
                  <a:pt x="150" y="12"/>
                </a:lnTo>
                <a:lnTo>
                  <a:pt x="150" y="6"/>
                </a:lnTo>
                <a:lnTo>
                  <a:pt x="156" y="0"/>
                </a:lnTo>
                <a:lnTo>
                  <a:pt x="168" y="6"/>
                </a:lnTo>
                <a:lnTo>
                  <a:pt x="180" y="6"/>
                </a:lnTo>
                <a:lnTo>
                  <a:pt x="186" y="6"/>
                </a:lnTo>
                <a:lnTo>
                  <a:pt x="192" y="6"/>
                </a:lnTo>
                <a:lnTo>
                  <a:pt x="198" y="0"/>
                </a:lnTo>
                <a:close/>
                <a:moveTo>
                  <a:pt x="588" y="870"/>
                </a:moveTo>
                <a:lnTo>
                  <a:pt x="582" y="870"/>
                </a:lnTo>
                <a:lnTo>
                  <a:pt x="576" y="864"/>
                </a:lnTo>
                <a:lnTo>
                  <a:pt x="570" y="846"/>
                </a:lnTo>
                <a:lnTo>
                  <a:pt x="564" y="846"/>
                </a:lnTo>
                <a:lnTo>
                  <a:pt x="540" y="834"/>
                </a:lnTo>
                <a:lnTo>
                  <a:pt x="522" y="882"/>
                </a:lnTo>
                <a:lnTo>
                  <a:pt x="522" y="888"/>
                </a:lnTo>
                <a:lnTo>
                  <a:pt x="516" y="894"/>
                </a:lnTo>
                <a:lnTo>
                  <a:pt x="516" y="906"/>
                </a:lnTo>
                <a:lnTo>
                  <a:pt x="504" y="894"/>
                </a:lnTo>
                <a:lnTo>
                  <a:pt x="504" y="876"/>
                </a:lnTo>
                <a:lnTo>
                  <a:pt x="510" y="858"/>
                </a:lnTo>
                <a:lnTo>
                  <a:pt x="498" y="864"/>
                </a:lnTo>
                <a:lnTo>
                  <a:pt x="492" y="864"/>
                </a:lnTo>
                <a:lnTo>
                  <a:pt x="486" y="864"/>
                </a:lnTo>
                <a:lnTo>
                  <a:pt x="474" y="864"/>
                </a:lnTo>
                <a:lnTo>
                  <a:pt x="468" y="864"/>
                </a:lnTo>
                <a:lnTo>
                  <a:pt x="456" y="876"/>
                </a:lnTo>
                <a:lnTo>
                  <a:pt x="450" y="882"/>
                </a:lnTo>
                <a:lnTo>
                  <a:pt x="450" y="888"/>
                </a:lnTo>
                <a:lnTo>
                  <a:pt x="456" y="900"/>
                </a:lnTo>
                <a:lnTo>
                  <a:pt x="456" y="906"/>
                </a:lnTo>
                <a:lnTo>
                  <a:pt x="450" y="918"/>
                </a:lnTo>
                <a:lnTo>
                  <a:pt x="438" y="918"/>
                </a:lnTo>
                <a:lnTo>
                  <a:pt x="432" y="924"/>
                </a:lnTo>
                <a:lnTo>
                  <a:pt x="426" y="918"/>
                </a:lnTo>
                <a:lnTo>
                  <a:pt x="420" y="918"/>
                </a:lnTo>
                <a:lnTo>
                  <a:pt x="414" y="924"/>
                </a:lnTo>
                <a:lnTo>
                  <a:pt x="408" y="936"/>
                </a:lnTo>
                <a:lnTo>
                  <a:pt x="402" y="930"/>
                </a:lnTo>
                <a:lnTo>
                  <a:pt x="396" y="936"/>
                </a:lnTo>
                <a:lnTo>
                  <a:pt x="390" y="936"/>
                </a:lnTo>
                <a:lnTo>
                  <a:pt x="396" y="948"/>
                </a:lnTo>
                <a:lnTo>
                  <a:pt x="390" y="954"/>
                </a:lnTo>
                <a:lnTo>
                  <a:pt x="384" y="954"/>
                </a:lnTo>
                <a:lnTo>
                  <a:pt x="366" y="954"/>
                </a:lnTo>
                <a:lnTo>
                  <a:pt x="348" y="954"/>
                </a:lnTo>
                <a:lnTo>
                  <a:pt x="348" y="960"/>
                </a:lnTo>
                <a:lnTo>
                  <a:pt x="342" y="966"/>
                </a:lnTo>
                <a:lnTo>
                  <a:pt x="354" y="978"/>
                </a:lnTo>
                <a:lnTo>
                  <a:pt x="348" y="984"/>
                </a:lnTo>
                <a:lnTo>
                  <a:pt x="342" y="984"/>
                </a:lnTo>
                <a:lnTo>
                  <a:pt x="348" y="996"/>
                </a:lnTo>
                <a:lnTo>
                  <a:pt x="354" y="996"/>
                </a:lnTo>
                <a:lnTo>
                  <a:pt x="348" y="1002"/>
                </a:lnTo>
                <a:lnTo>
                  <a:pt x="336" y="1008"/>
                </a:lnTo>
                <a:lnTo>
                  <a:pt x="342" y="1014"/>
                </a:lnTo>
                <a:lnTo>
                  <a:pt x="348" y="1014"/>
                </a:lnTo>
                <a:lnTo>
                  <a:pt x="354" y="1020"/>
                </a:lnTo>
                <a:lnTo>
                  <a:pt x="354" y="1038"/>
                </a:lnTo>
                <a:lnTo>
                  <a:pt x="342" y="1038"/>
                </a:lnTo>
                <a:lnTo>
                  <a:pt x="336" y="1050"/>
                </a:lnTo>
                <a:lnTo>
                  <a:pt x="330" y="1050"/>
                </a:lnTo>
                <a:lnTo>
                  <a:pt x="342" y="1056"/>
                </a:lnTo>
                <a:lnTo>
                  <a:pt x="348" y="1056"/>
                </a:lnTo>
                <a:lnTo>
                  <a:pt x="360" y="1056"/>
                </a:lnTo>
                <a:lnTo>
                  <a:pt x="366" y="1068"/>
                </a:lnTo>
                <a:lnTo>
                  <a:pt x="360" y="1074"/>
                </a:lnTo>
                <a:lnTo>
                  <a:pt x="372" y="1080"/>
                </a:lnTo>
                <a:lnTo>
                  <a:pt x="378" y="1086"/>
                </a:lnTo>
                <a:lnTo>
                  <a:pt x="378" y="1098"/>
                </a:lnTo>
                <a:lnTo>
                  <a:pt x="372" y="1098"/>
                </a:lnTo>
                <a:lnTo>
                  <a:pt x="366" y="1098"/>
                </a:lnTo>
                <a:lnTo>
                  <a:pt x="360" y="1110"/>
                </a:lnTo>
                <a:lnTo>
                  <a:pt x="372" y="1116"/>
                </a:lnTo>
                <a:lnTo>
                  <a:pt x="378" y="1128"/>
                </a:lnTo>
                <a:lnTo>
                  <a:pt x="384" y="1140"/>
                </a:lnTo>
                <a:lnTo>
                  <a:pt x="384" y="1146"/>
                </a:lnTo>
                <a:lnTo>
                  <a:pt x="402" y="1146"/>
                </a:lnTo>
                <a:lnTo>
                  <a:pt x="408" y="1152"/>
                </a:lnTo>
                <a:lnTo>
                  <a:pt x="414" y="1152"/>
                </a:lnTo>
                <a:lnTo>
                  <a:pt x="420" y="1152"/>
                </a:lnTo>
                <a:lnTo>
                  <a:pt x="426" y="1164"/>
                </a:lnTo>
                <a:lnTo>
                  <a:pt x="426" y="1170"/>
                </a:lnTo>
                <a:lnTo>
                  <a:pt x="432" y="1188"/>
                </a:lnTo>
                <a:lnTo>
                  <a:pt x="426" y="1194"/>
                </a:lnTo>
                <a:lnTo>
                  <a:pt x="426" y="1200"/>
                </a:lnTo>
                <a:lnTo>
                  <a:pt x="414" y="1206"/>
                </a:lnTo>
                <a:lnTo>
                  <a:pt x="420" y="1212"/>
                </a:lnTo>
                <a:lnTo>
                  <a:pt x="426" y="1218"/>
                </a:lnTo>
                <a:lnTo>
                  <a:pt x="438" y="1218"/>
                </a:lnTo>
                <a:lnTo>
                  <a:pt x="438" y="1230"/>
                </a:lnTo>
                <a:lnTo>
                  <a:pt x="432" y="1230"/>
                </a:lnTo>
                <a:lnTo>
                  <a:pt x="432" y="1236"/>
                </a:lnTo>
                <a:lnTo>
                  <a:pt x="426" y="1236"/>
                </a:lnTo>
                <a:lnTo>
                  <a:pt x="426" y="1242"/>
                </a:lnTo>
                <a:lnTo>
                  <a:pt x="426" y="1248"/>
                </a:lnTo>
                <a:lnTo>
                  <a:pt x="426" y="1254"/>
                </a:lnTo>
                <a:lnTo>
                  <a:pt x="420" y="1254"/>
                </a:lnTo>
                <a:lnTo>
                  <a:pt x="420" y="1260"/>
                </a:lnTo>
                <a:lnTo>
                  <a:pt x="420" y="1266"/>
                </a:lnTo>
                <a:lnTo>
                  <a:pt x="426" y="1272"/>
                </a:lnTo>
                <a:lnTo>
                  <a:pt x="426" y="1278"/>
                </a:lnTo>
                <a:lnTo>
                  <a:pt x="432" y="1284"/>
                </a:lnTo>
                <a:lnTo>
                  <a:pt x="432" y="1290"/>
                </a:lnTo>
                <a:lnTo>
                  <a:pt x="426" y="1290"/>
                </a:lnTo>
                <a:lnTo>
                  <a:pt x="420" y="1296"/>
                </a:lnTo>
                <a:lnTo>
                  <a:pt x="420" y="1302"/>
                </a:lnTo>
                <a:lnTo>
                  <a:pt x="420" y="1308"/>
                </a:lnTo>
                <a:lnTo>
                  <a:pt x="420" y="1314"/>
                </a:lnTo>
                <a:lnTo>
                  <a:pt x="426" y="1314"/>
                </a:lnTo>
                <a:lnTo>
                  <a:pt x="426" y="1320"/>
                </a:lnTo>
                <a:lnTo>
                  <a:pt x="426" y="1326"/>
                </a:lnTo>
                <a:lnTo>
                  <a:pt x="426" y="1332"/>
                </a:lnTo>
                <a:lnTo>
                  <a:pt x="432" y="1332"/>
                </a:lnTo>
                <a:lnTo>
                  <a:pt x="432" y="1338"/>
                </a:lnTo>
                <a:lnTo>
                  <a:pt x="450" y="1320"/>
                </a:lnTo>
                <a:lnTo>
                  <a:pt x="462" y="1308"/>
                </a:lnTo>
                <a:lnTo>
                  <a:pt x="468" y="1308"/>
                </a:lnTo>
                <a:lnTo>
                  <a:pt x="474" y="1302"/>
                </a:lnTo>
                <a:lnTo>
                  <a:pt x="486" y="1296"/>
                </a:lnTo>
                <a:lnTo>
                  <a:pt x="492" y="1296"/>
                </a:lnTo>
                <a:lnTo>
                  <a:pt x="498" y="1296"/>
                </a:lnTo>
                <a:lnTo>
                  <a:pt x="504" y="1302"/>
                </a:lnTo>
                <a:lnTo>
                  <a:pt x="510" y="1296"/>
                </a:lnTo>
                <a:lnTo>
                  <a:pt x="516" y="1302"/>
                </a:lnTo>
                <a:lnTo>
                  <a:pt x="522" y="1290"/>
                </a:lnTo>
                <a:lnTo>
                  <a:pt x="528" y="1296"/>
                </a:lnTo>
                <a:lnTo>
                  <a:pt x="534" y="1296"/>
                </a:lnTo>
                <a:lnTo>
                  <a:pt x="540" y="1290"/>
                </a:lnTo>
                <a:lnTo>
                  <a:pt x="546" y="1278"/>
                </a:lnTo>
                <a:lnTo>
                  <a:pt x="552" y="1278"/>
                </a:lnTo>
                <a:lnTo>
                  <a:pt x="558" y="1278"/>
                </a:lnTo>
                <a:lnTo>
                  <a:pt x="558" y="1272"/>
                </a:lnTo>
                <a:lnTo>
                  <a:pt x="552" y="1272"/>
                </a:lnTo>
                <a:lnTo>
                  <a:pt x="552" y="1266"/>
                </a:lnTo>
                <a:lnTo>
                  <a:pt x="558" y="1266"/>
                </a:lnTo>
                <a:lnTo>
                  <a:pt x="564" y="1260"/>
                </a:lnTo>
                <a:lnTo>
                  <a:pt x="570" y="1254"/>
                </a:lnTo>
                <a:lnTo>
                  <a:pt x="576" y="1254"/>
                </a:lnTo>
                <a:lnTo>
                  <a:pt x="582" y="1254"/>
                </a:lnTo>
                <a:lnTo>
                  <a:pt x="594" y="1278"/>
                </a:lnTo>
                <a:lnTo>
                  <a:pt x="600" y="1278"/>
                </a:lnTo>
                <a:lnTo>
                  <a:pt x="606" y="1278"/>
                </a:lnTo>
                <a:lnTo>
                  <a:pt x="612" y="1278"/>
                </a:lnTo>
                <a:lnTo>
                  <a:pt x="612" y="1284"/>
                </a:lnTo>
                <a:lnTo>
                  <a:pt x="612" y="1290"/>
                </a:lnTo>
                <a:lnTo>
                  <a:pt x="612" y="1302"/>
                </a:lnTo>
                <a:lnTo>
                  <a:pt x="618" y="1308"/>
                </a:lnTo>
                <a:lnTo>
                  <a:pt x="624" y="1314"/>
                </a:lnTo>
                <a:lnTo>
                  <a:pt x="630" y="1320"/>
                </a:lnTo>
                <a:lnTo>
                  <a:pt x="636" y="1326"/>
                </a:lnTo>
                <a:lnTo>
                  <a:pt x="642" y="1332"/>
                </a:lnTo>
                <a:lnTo>
                  <a:pt x="648" y="1332"/>
                </a:lnTo>
                <a:lnTo>
                  <a:pt x="672" y="1344"/>
                </a:lnTo>
                <a:lnTo>
                  <a:pt x="678" y="1344"/>
                </a:lnTo>
                <a:lnTo>
                  <a:pt x="684" y="1338"/>
                </a:lnTo>
                <a:lnTo>
                  <a:pt x="696" y="1338"/>
                </a:lnTo>
                <a:lnTo>
                  <a:pt x="708" y="1332"/>
                </a:lnTo>
                <a:lnTo>
                  <a:pt x="732" y="1320"/>
                </a:lnTo>
                <a:lnTo>
                  <a:pt x="732" y="1314"/>
                </a:lnTo>
                <a:lnTo>
                  <a:pt x="738" y="1308"/>
                </a:lnTo>
                <a:lnTo>
                  <a:pt x="738" y="1296"/>
                </a:lnTo>
                <a:lnTo>
                  <a:pt x="744" y="1272"/>
                </a:lnTo>
                <a:lnTo>
                  <a:pt x="744" y="1266"/>
                </a:lnTo>
                <a:lnTo>
                  <a:pt x="744" y="1260"/>
                </a:lnTo>
                <a:lnTo>
                  <a:pt x="756" y="1236"/>
                </a:lnTo>
                <a:lnTo>
                  <a:pt x="762" y="1242"/>
                </a:lnTo>
                <a:lnTo>
                  <a:pt x="768" y="1236"/>
                </a:lnTo>
                <a:lnTo>
                  <a:pt x="768" y="1218"/>
                </a:lnTo>
                <a:lnTo>
                  <a:pt x="762" y="1212"/>
                </a:lnTo>
                <a:lnTo>
                  <a:pt x="780" y="1206"/>
                </a:lnTo>
                <a:lnTo>
                  <a:pt x="780" y="1200"/>
                </a:lnTo>
                <a:lnTo>
                  <a:pt x="786" y="1194"/>
                </a:lnTo>
                <a:lnTo>
                  <a:pt x="804" y="1200"/>
                </a:lnTo>
                <a:lnTo>
                  <a:pt x="810" y="1200"/>
                </a:lnTo>
                <a:lnTo>
                  <a:pt x="816" y="1194"/>
                </a:lnTo>
                <a:lnTo>
                  <a:pt x="822" y="1176"/>
                </a:lnTo>
                <a:lnTo>
                  <a:pt x="834" y="1176"/>
                </a:lnTo>
                <a:lnTo>
                  <a:pt x="834" y="1152"/>
                </a:lnTo>
                <a:lnTo>
                  <a:pt x="840" y="1146"/>
                </a:lnTo>
                <a:lnTo>
                  <a:pt x="846" y="1134"/>
                </a:lnTo>
                <a:lnTo>
                  <a:pt x="846" y="1122"/>
                </a:lnTo>
                <a:lnTo>
                  <a:pt x="852" y="1116"/>
                </a:lnTo>
                <a:lnTo>
                  <a:pt x="852" y="1110"/>
                </a:lnTo>
                <a:lnTo>
                  <a:pt x="858" y="1110"/>
                </a:lnTo>
                <a:lnTo>
                  <a:pt x="858" y="1104"/>
                </a:lnTo>
                <a:lnTo>
                  <a:pt x="864" y="1104"/>
                </a:lnTo>
                <a:lnTo>
                  <a:pt x="870" y="1104"/>
                </a:lnTo>
                <a:lnTo>
                  <a:pt x="876" y="1104"/>
                </a:lnTo>
                <a:lnTo>
                  <a:pt x="882" y="1098"/>
                </a:lnTo>
                <a:lnTo>
                  <a:pt x="888" y="1098"/>
                </a:lnTo>
                <a:lnTo>
                  <a:pt x="894" y="1092"/>
                </a:lnTo>
                <a:lnTo>
                  <a:pt x="900" y="1086"/>
                </a:lnTo>
                <a:lnTo>
                  <a:pt x="894" y="1080"/>
                </a:lnTo>
                <a:lnTo>
                  <a:pt x="888" y="1068"/>
                </a:lnTo>
                <a:lnTo>
                  <a:pt x="888" y="1062"/>
                </a:lnTo>
                <a:lnTo>
                  <a:pt x="882" y="1056"/>
                </a:lnTo>
                <a:lnTo>
                  <a:pt x="882" y="1050"/>
                </a:lnTo>
                <a:lnTo>
                  <a:pt x="870" y="1044"/>
                </a:lnTo>
                <a:lnTo>
                  <a:pt x="870" y="1038"/>
                </a:lnTo>
                <a:lnTo>
                  <a:pt x="864" y="1038"/>
                </a:lnTo>
                <a:lnTo>
                  <a:pt x="858" y="1032"/>
                </a:lnTo>
                <a:lnTo>
                  <a:pt x="858" y="1026"/>
                </a:lnTo>
                <a:lnTo>
                  <a:pt x="858" y="1020"/>
                </a:lnTo>
                <a:lnTo>
                  <a:pt x="852" y="1008"/>
                </a:lnTo>
                <a:lnTo>
                  <a:pt x="852" y="1014"/>
                </a:lnTo>
                <a:lnTo>
                  <a:pt x="822" y="1020"/>
                </a:lnTo>
                <a:lnTo>
                  <a:pt x="810" y="1026"/>
                </a:lnTo>
                <a:lnTo>
                  <a:pt x="798" y="1032"/>
                </a:lnTo>
                <a:lnTo>
                  <a:pt x="792" y="1014"/>
                </a:lnTo>
                <a:lnTo>
                  <a:pt x="792" y="1002"/>
                </a:lnTo>
                <a:lnTo>
                  <a:pt x="786" y="1002"/>
                </a:lnTo>
                <a:lnTo>
                  <a:pt x="786" y="996"/>
                </a:lnTo>
                <a:lnTo>
                  <a:pt x="774" y="990"/>
                </a:lnTo>
                <a:lnTo>
                  <a:pt x="768" y="984"/>
                </a:lnTo>
                <a:lnTo>
                  <a:pt x="774" y="972"/>
                </a:lnTo>
                <a:lnTo>
                  <a:pt x="762" y="972"/>
                </a:lnTo>
                <a:lnTo>
                  <a:pt x="750" y="984"/>
                </a:lnTo>
                <a:lnTo>
                  <a:pt x="744" y="978"/>
                </a:lnTo>
                <a:lnTo>
                  <a:pt x="738" y="972"/>
                </a:lnTo>
                <a:lnTo>
                  <a:pt x="726" y="978"/>
                </a:lnTo>
                <a:lnTo>
                  <a:pt x="714" y="972"/>
                </a:lnTo>
                <a:lnTo>
                  <a:pt x="708" y="978"/>
                </a:lnTo>
                <a:lnTo>
                  <a:pt x="702" y="978"/>
                </a:lnTo>
                <a:lnTo>
                  <a:pt x="696" y="978"/>
                </a:lnTo>
                <a:lnTo>
                  <a:pt x="690" y="966"/>
                </a:lnTo>
                <a:lnTo>
                  <a:pt x="684" y="960"/>
                </a:lnTo>
                <a:lnTo>
                  <a:pt x="672" y="960"/>
                </a:lnTo>
                <a:lnTo>
                  <a:pt x="654" y="954"/>
                </a:lnTo>
                <a:lnTo>
                  <a:pt x="666" y="942"/>
                </a:lnTo>
                <a:lnTo>
                  <a:pt x="660" y="930"/>
                </a:lnTo>
                <a:lnTo>
                  <a:pt x="648" y="930"/>
                </a:lnTo>
                <a:lnTo>
                  <a:pt x="642" y="930"/>
                </a:lnTo>
                <a:lnTo>
                  <a:pt x="636" y="918"/>
                </a:lnTo>
                <a:lnTo>
                  <a:pt x="654" y="906"/>
                </a:lnTo>
                <a:lnTo>
                  <a:pt x="642" y="906"/>
                </a:lnTo>
                <a:lnTo>
                  <a:pt x="636" y="900"/>
                </a:lnTo>
                <a:lnTo>
                  <a:pt x="636" y="894"/>
                </a:lnTo>
                <a:lnTo>
                  <a:pt x="624" y="900"/>
                </a:lnTo>
                <a:lnTo>
                  <a:pt x="624" y="888"/>
                </a:lnTo>
                <a:lnTo>
                  <a:pt x="612" y="870"/>
                </a:lnTo>
                <a:lnTo>
                  <a:pt x="606" y="864"/>
                </a:lnTo>
                <a:lnTo>
                  <a:pt x="600" y="864"/>
                </a:lnTo>
                <a:lnTo>
                  <a:pt x="594" y="870"/>
                </a:lnTo>
                <a:lnTo>
                  <a:pt x="588" y="870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76" name="Freeform 20"/>
          <p:cNvSpPr>
            <a:spLocks/>
          </p:cNvSpPr>
          <p:nvPr/>
        </p:nvSpPr>
        <p:spPr bwMode="gray">
          <a:xfrm>
            <a:off x="2668588" y="4545013"/>
            <a:ext cx="1244600" cy="1460500"/>
          </a:xfrm>
          <a:custGeom>
            <a:avLst/>
            <a:gdLst>
              <a:gd name="T0" fmla="*/ 85095 w 1290"/>
              <a:gd name="T1" fmla="*/ 7345 h 1518"/>
              <a:gd name="T2" fmla="*/ 91640 w 1290"/>
              <a:gd name="T3" fmla="*/ 18770 h 1518"/>
              <a:gd name="T4" fmla="*/ 92459 w 1290"/>
              <a:gd name="T5" fmla="*/ 25298 h 1518"/>
              <a:gd name="T6" fmla="*/ 85095 w 1290"/>
              <a:gd name="T7" fmla="*/ 31827 h 1518"/>
              <a:gd name="T8" fmla="*/ 82640 w 1290"/>
              <a:gd name="T9" fmla="*/ 39988 h 1518"/>
              <a:gd name="T10" fmla="*/ 87549 w 1290"/>
              <a:gd name="T11" fmla="*/ 50597 h 1518"/>
              <a:gd name="T12" fmla="*/ 89186 w 1290"/>
              <a:gd name="T13" fmla="*/ 60390 h 1518"/>
              <a:gd name="T14" fmla="*/ 87549 w 1290"/>
              <a:gd name="T15" fmla="*/ 67734 h 1518"/>
              <a:gd name="T16" fmla="*/ 92459 w 1290"/>
              <a:gd name="T17" fmla="*/ 80792 h 1518"/>
              <a:gd name="T18" fmla="*/ 88368 w 1290"/>
              <a:gd name="T19" fmla="*/ 85688 h 1518"/>
              <a:gd name="T20" fmla="*/ 86731 w 1290"/>
              <a:gd name="T21" fmla="*/ 93033 h 1518"/>
              <a:gd name="T22" fmla="*/ 89186 w 1290"/>
              <a:gd name="T23" fmla="*/ 94665 h 1518"/>
              <a:gd name="T24" fmla="*/ 87549 w 1290"/>
              <a:gd name="T25" fmla="*/ 100378 h 1518"/>
              <a:gd name="T26" fmla="*/ 83458 w 1290"/>
              <a:gd name="T27" fmla="*/ 110170 h 1518"/>
              <a:gd name="T28" fmla="*/ 75276 w 1290"/>
              <a:gd name="T29" fmla="*/ 107722 h 1518"/>
              <a:gd name="T30" fmla="*/ 68730 w 1290"/>
              <a:gd name="T31" fmla="*/ 103642 h 1518"/>
              <a:gd name="T32" fmla="*/ 60548 w 1290"/>
              <a:gd name="T33" fmla="*/ 98745 h 1518"/>
              <a:gd name="T34" fmla="*/ 57275 w 1290"/>
              <a:gd name="T35" fmla="*/ 97113 h 1518"/>
              <a:gd name="T36" fmla="*/ 55639 w 1290"/>
              <a:gd name="T37" fmla="*/ 91401 h 1518"/>
              <a:gd name="T38" fmla="*/ 54002 w 1290"/>
              <a:gd name="T39" fmla="*/ 87320 h 1518"/>
              <a:gd name="T40" fmla="*/ 49911 w 1290"/>
              <a:gd name="T41" fmla="*/ 85688 h 1518"/>
              <a:gd name="T42" fmla="*/ 49911 w 1290"/>
              <a:gd name="T43" fmla="*/ 90585 h 1518"/>
              <a:gd name="T44" fmla="*/ 47457 w 1290"/>
              <a:gd name="T45" fmla="*/ 93849 h 1518"/>
              <a:gd name="T46" fmla="*/ 40911 w 1290"/>
              <a:gd name="T47" fmla="*/ 98745 h 1518"/>
              <a:gd name="T48" fmla="*/ 40911 w 1290"/>
              <a:gd name="T49" fmla="*/ 96297 h 1518"/>
              <a:gd name="T50" fmla="*/ 43366 w 1290"/>
              <a:gd name="T51" fmla="*/ 91401 h 1518"/>
              <a:gd name="T52" fmla="*/ 40911 w 1290"/>
              <a:gd name="T53" fmla="*/ 88136 h 1518"/>
              <a:gd name="T54" fmla="*/ 39274 w 1290"/>
              <a:gd name="T55" fmla="*/ 83240 h 1518"/>
              <a:gd name="T56" fmla="*/ 36002 w 1290"/>
              <a:gd name="T57" fmla="*/ 78343 h 1518"/>
              <a:gd name="T58" fmla="*/ 35183 w 1290"/>
              <a:gd name="T59" fmla="*/ 74263 h 1518"/>
              <a:gd name="T60" fmla="*/ 27819 w 1290"/>
              <a:gd name="T61" fmla="*/ 73447 h 1518"/>
              <a:gd name="T62" fmla="*/ 22910 w 1290"/>
              <a:gd name="T63" fmla="*/ 74263 h 1518"/>
              <a:gd name="T64" fmla="*/ 18819 w 1290"/>
              <a:gd name="T65" fmla="*/ 79976 h 1518"/>
              <a:gd name="T66" fmla="*/ 19637 w 1290"/>
              <a:gd name="T67" fmla="*/ 85688 h 1518"/>
              <a:gd name="T68" fmla="*/ 15546 w 1290"/>
              <a:gd name="T69" fmla="*/ 85688 h 1518"/>
              <a:gd name="T70" fmla="*/ 13091 w 1290"/>
              <a:gd name="T71" fmla="*/ 89769 h 1518"/>
              <a:gd name="T72" fmla="*/ 12273 w 1290"/>
              <a:gd name="T73" fmla="*/ 91401 h 1518"/>
              <a:gd name="T74" fmla="*/ 7364 w 1290"/>
              <a:gd name="T75" fmla="*/ 89769 h 1518"/>
              <a:gd name="T76" fmla="*/ 7364 w 1290"/>
              <a:gd name="T77" fmla="*/ 80792 h 1518"/>
              <a:gd name="T78" fmla="*/ 0 w 1290"/>
              <a:gd name="T79" fmla="*/ 77527 h 1518"/>
              <a:gd name="T80" fmla="*/ 4909 w 1290"/>
              <a:gd name="T81" fmla="*/ 72631 h 1518"/>
              <a:gd name="T82" fmla="*/ 818 w 1290"/>
              <a:gd name="T83" fmla="*/ 57125 h 1518"/>
              <a:gd name="T84" fmla="*/ 3273 w 1290"/>
              <a:gd name="T85" fmla="*/ 50597 h 1518"/>
              <a:gd name="T86" fmla="*/ 4091 w 1290"/>
              <a:gd name="T87" fmla="*/ 46516 h 1518"/>
              <a:gd name="T88" fmla="*/ 5728 w 1290"/>
              <a:gd name="T89" fmla="*/ 41620 h 1518"/>
              <a:gd name="T90" fmla="*/ 7364 w 1290"/>
              <a:gd name="T91" fmla="*/ 35091 h 1518"/>
              <a:gd name="T92" fmla="*/ 6546 w 1290"/>
              <a:gd name="T93" fmla="*/ 29379 h 1518"/>
              <a:gd name="T94" fmla="*/ 9819 w 1290"/>
              <a:gd name="T95" fmla="*/ 25298 h 1518"/>
              <a:gd name="T96" fmla="*/ 13910 w 1290"/>
              <a:gd name="T97" fmla="*/ 20402 h 1518"/>
              <a:gd name="T98" fmla="*/ 21274 w 1290"/>
              <a:gd name="T99" fmla="*/ 17138 h 1518"/>
              <a:gd name="T100" fmla="*/ 24547 w 1290"/>
              <a:gd name="T101" fmla="*/ 17138 h 1518"/>
              <a:gd name="T102" fmla="*/ 31911 w 1290"/>
              <a:gd name="T103" fmla="*/ 17138 h 1518"/>
              <a:gd name="T104" fmla="*/ 33547 w 1290"/>
              <a:gd name="T105" fmla="*/ 16322 h 1518"/>
              <a:gd name="T106" fmla="*/ 38456 w 1290"/>
              <a:gd name="T107" fmla="*/ 22034 h 1518"/>
              <a:gd name="T108" fmla="*/ 43366 w 1290"/>
              <a:gd name="T109" fmla="*/ 20402 h 1518"/>
              <a:gd name="T110" fmla="*/ 49093 w 1290"/>
              <a:gd name="T111" fmla="*/ 14689 h 1518"/>
              <a:gd name="T112" fmla="*/ 56457 w 1290"/>
              <a:gd name="T113" fmla="*/ 19586 h 1518"/>
              <a:gd name="T114" fmla="*/ 58912 w 1290"/>
              <a:gd name="T115" fmla="*/ 25298 h 1518"/>
              <a:gd name="T116" fmla="*/ 65457 w 1290"/>
              <a:gd name="T117" fmla="*/ 22850 h 1518"/>
              <a:gd name="T118" fmla="*/ 67912 w 1290"/>
              <a:gd name="T119" fmla="*/ 15505 h 1518"/>
              <a:gd name="T120" fmla="*/ 75276 w 1290"/>
              <a:gd name="T121" fmla="*/ 8977 h 1518"/>
              <a:gd name="T122" fmla="*/ 80185 w 1290"/>
              <a:gd name="T123" fmla="*/ 816 h 1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290" h="1518">
                <a:moveTo>
                  <a:pt x="1140" y="0"/>
                </a:moveTo>
                <a:lnTo>
                  <a:pt x="1140" y="24"/>
                </a:lnTo>
                <a:lnTo>
                  <a:pt x="1140" y="42"/>
                </a:lnTo>
                <a:lnTo>
                  <a:pt x="1146" y="60"/>
                </a:lnTo>
                <a:lnTo>
                  <a:pt x="1152" y="78"/>
                </a:lnTo>
                <a:lnTo>
                  <a:pt x="1152" y="90"/>
                </a:lnTo>
                <a:lnTo>
                  <a:pt x="1164" y="96"/>
                </a:lnTo>
                <a:lnTo>
                  <a:pt x="1170" y="102"/>
                </a:lnTo>
                <a:lnTo>
                  <a:pt x="1194" y="114"/>
                </a:lnTo>
                <a:lnTo>
                  <a:pt x="1206" y="132"/>
                </a:lnTo>
                <a:lnTo>
                  <a:pt x="1218" y="150"/>
                </a:lnTo>
                <a:lnTo>
                  <a:pt x="1230" y="168"/>
                </a:lnTo>
                <a:lnTo>
                  <a:pt x="1242" y="198"/>
                </a:lnTo>
                <a:lnTo>
                  <a:pt x="1248" y="228"/>
                </a:lnTo>
                <a:lnTo>
                  <a:pt x="1254" y="240"/>
                </a:lnTo>
                <a:lnTo>
                  <a:pt x="1260" y="258"/>
                </a:lnTo>
                <a:lnTo>
                  <a:pt x="1266" y="258"/>
                </a:lnTo>
                <a:lnTo>
                  <a:pt x="1272" y="270"/>
                </a:lnTo>
                <a:lnTo>
                  <a:pt x="1284" y="288"/>
                </a:lnTo>
                <a:lnTo>
                  <a:pt x="1290" y="300"/>
                </a:lnTo>
                <a:lnTo>
                  <a:pt x="1284" y="318"/>
                </a:lnTo>
                <a:lnTo>
                  <a:pt x="1284" y="330"/>
                </a:lnTo>
                <a:lnTo>
                  <a:pt x="1278" y="342"/>
                </a:lnTo>
                <a:lnTo>
                  <a:pt x="1266" y="354"/>
                </a:lnTo>
                <a:lnTo>
                  <a:pt x="1260" y="372"/>
                </a:lnTo>
                <a:lnTo>
                  <a:pt x="1242" y="396"/>
                </a:lnTo>
                <a:lnTo>
                  <a:pt x="1230" y="414"/>
                </a:lnTo>
                <a:lnTo>
                  <a:pt x="1224" y="402"/>
                </a:lnTo>
                <a:lnTo>
                  <a:pt x="1224" y="396"/>
                </a:lnTo>
                <a:lnTo>
                  <a:pt x="1164" y="426"/>
                </a:lnTo>
                <a:lnTo>
                  <a:pt x="1164" y="432"/>
                </a:lnTo>
                <a:lnTo>
                  <a:pt x="1164" y="438"/>
                </a:lnTo>
                <a:lnTo>
                  <a:pt x="1146" y="438"/>
                </a:lnTo>
                <a:lnTo>
                  <a:pt x="1134" y="450"/>
                </a:lnTo>
                <a:lnTo>
                  <a:pt x="1128" y="462"/>
                </a:lnTo>
                <a:lnTo>
                  <a:pt x="1122" y="486"/>
                </a:lnTo>
                <a:lnTo>
                  <a:pt x="1116" y="510"/>
                </a:lnTo>
                <a:lnTo>
                  <a:pt x="1116" y="522"/>
                </a:lnTo>
                <a:lnTo>
                  <a:pt x="1128" y="540"/>
                </a:lnTo>
                <a:lnTo>
                  <a:pt x="1140" y="558"/>
                </a:lnTo>
                <a:lnTo>
                  <a:pt x="1152" y="570"/>
                </a:lnTo>
                <a:lnTo>
                  <a:pt x="1170" y="588"/>
                </a:lnTo>
                <a:lnTo>
                  <a:pt x="1170" y="612"/>
                </a:lnTo>
                <a:lnTo>
                  <a:pt x="1176" y="624"/>
                </a:lnTo>
                <a:lnTo>
                  <a:pt x="1176" y="642"/>
                </a:lnTo>
                <a:lnTo>
                  <a:pt x="1176" y="660"/>
                </a:lnTo>
                <a:lnTo>
                  <a:pt x="1182" y="678"/>
                </a:lnTo>
                <a:lnTo>
                  <a:pt x="1200" y="702"/>
                </a:lnTo>
                <a:lnTo>
                  <a:pt x="1212" y="726"/>
                </a:lnTo>
                <a:lnTo>
                  <a:pt x="1224" y="744"/>
                </a:lnTo>
                <a:lnTo>
                  <a:pt x="1230" y="762"/>
                </a:lnTo>
                <a:lnTo>
                  <a:pt x="1236" y="792"/>
                </a:lnTo>
                <a:lnTo>
                  <a:pt x="1230" y="804"/>
                </a:lnTo>
                <a:lnTo>
                  <a:pt x="1230" y="810"/>
                </a:lnTo>
                <a:lnTo>
                  <a:pt x="1230" y="816"/>
                </a:lnTo>
                <a:lnTo>
                  <a:pt x="1224" y="834"/>
                </a:lnTo>
                <a:lnTo>
                  <a:pt x="1224" y="840"/>
                </a:lnTo>
                <a:lnTo>
                  <a:pt x="1212" y="870"/>
                </a:lnTo>
                <a:lnTo>
                  <a:pt x="1200" y="894"/>
                </a:lnTo>
                <a:lnTo>
                  <a:pt x="1194" y="906"/>
                </a:lnTo>
                <a:lnTo>
                  <a:pt x="1194" y="912"/>
                </a:lnTo>
                <a:lnTo>
                  <a:pt x="1200" y="918"/>
                </a:lnTo>
                <a:lnTo>
                  <a:pt x="1200" y="924"/>
                </a:lnTo>
                <a:lnTo>
                  <a:pt x="1200" y="942"/>
                </a:lnTo>
                <a:lnTo>
                  <a:pt x="1206" y="966"/>
                </a:lnTo>
                <a:lnTo>
                  <a:pt x="1212" y="990"/>
                </a:lnTo>
                <a:lnTo>
                  <a:pt x="1236" y="1044"/>
                </a:lnTo>
                <a:lnTo>
                  <a:pt x="1254" y="1062"/>
                </a:lnTo>
                <a:lnTo>
                  <a:pt x="1260" y="1074"/>
                </a:lnTo>
                <a:lnTo>
                  <a:pt x="1266" y="1092"/>
                </a:lnTo>
                <a:lnTo>
                  <a:pt x="1272" y="1104"/>
                </a:lnTo>
                <a:lnTo>
                  <a:pt x="1272" y="1116"/>
                </a:lnTo>
                <a:lnTo>
                  <a:pt x="1266" y="1146"/>
                </a:lnTo>
                <a:lnTo>
                  <a:pt x="1260" y="1164"/>
                </a:lnTo>
                <a:lnTo>
                  <a:pt x="1266" y="1170"/>
                </a:lnTo>
                <a:lnTo>
                  <a:pt x="1260" y="1182"/>
                </a:lnTo>
                <a:lnTo>
                  <a:pt x="1248" y="1188"/>
                </a:lnTo>
                <a:lnTo>
                  <a:pt x="1230" y="1182"/>
                </a:lnTo>
                <a:lnTo>
                  <a:pt x="1224" y="1182"/>
                </a:lnTo>
                <a:lnTo>
                  <a:pt x="1212" y="1182"/>
                </a:lnTo>
                <a:lnTo>
                  <a:pt x="1206" y="1188"/>
                </a:lnTo>
                <a:lnTo>
                  <a:pt x="1206" y="1200"/>
                </a:lnTo>
                <a:lnTo>
                  <a:pt x="1218" y="1218"/>
                </a:lnTo>
                <a:lnTo>
                  <a:pt x="1218" y="1236"/>
                </a:lnTo>
                <a:lnTo>
                  <a:pt x="1212" y="1254"/>
                </a:lnTo>
                <a:lnTo>
                  <a:pt x="1194" y="1260"/>
                </a:lnTo>
                <a:lnTo>
                  <a:pt x="1194" y="1278"/>
                </a:lnTo>
                <a:lnTo>
                  <a:pt x="1188" y="1290"/>
                </a:lnTo>
                <a:lnTo>
                  <a:pt x="1182" y="1296"/>
                </a:lnTo>
                <a:lnTo>
                  <a:pt x="1182" y="1302"/>
                </a:lnTo>
                <a:lnTo>
                  <a:pt x="1188" y="1320"/>
                </a:lnTo>
                <a:lnTo>
                  <a:pt x="1212" y="1284"/>
                </a:lnTo>
                <a:lnTo>
                  <a:pt x="1230" y="1290"/>
                </a:lnTo>
                <a:lnTo>
                  <a:pt x="1224" y="1302"/>
                </a:lnTo>
                <a:lnTo>
                  <a:pt x="1218" y="1308"/>
                </a:lnTo>
                <a:lnTo>
                  <a:pt x="1218" y="1314"/>
                </a:lnTo>
                <a:lnTo>
                  <a:pt x="1224" y="1320"/>
                </a:lnTo>
                <a:lnTo>
                  <a:pt x="1230" y="1320"/>
                </a:lnTo>
                <a:lnTo>
                  <a:pt x="1236" y="1320"/>
                </a:lnTo>
                <a:lnTo>
                  <a:pt x="1236" y="1332"/>
                </a:lnTo>
                <a:lnTo>
                  <a:pt x="1236" y="1344"/>
                </a:lnTo>
                <a:lnTo>
                  <a:pt x="1224" y="1350"/>
                </a:lnTo>
                <a:lnTo>
                  <a:pt x="1212" y="1362"/>
                </a:lnTo>
                <a:lnTo>
                  <a:pt x="1200" y="1392"/>
                </a:lnTo>
                <a:lnTo>
                  <a:pt x="1200" y="1410"/>
                </a:lnTo>
                <a:lnTo>
                  <a:pt x="1194" y="1428"/>
                </a:lnTo>
                <a:lnTo>
                  <a:pt x="1176" y="1458"/>
                </a:lnTo>
                <a:lnTo>
                  <a:pt x="1164" y="1488"/>
                </a:lnTo>
                <a:lnTo>
                  <a:pt x="1164" y="1500"/>
                </a:lnTo>
                <a:lnTo>
                  <a:pt x="1170" y="1500"/>
                </a:lnTo>
                <a:lnTo>
                  <a:pt x="1170" y="1512"/>
                </a:lnTo>
                <a:lnTo>
                  <a:pt x="1146" y="1518"/>
                </a:lnTo>
                <a:lnTo>
                  <a:pt x="1116" y="1518"/>
                </a:lnTo>
                <a:lnTo>
                  <a:pt x="1104" y="1512"/>
                </a:lnTo>
                <a:lnTo>
                  <a:pt x="1092" y="1512"/>
                </a:lnTo>
                <a:lnTo>
                  <a:pt x="1074" y="1518"/>
                </a:lnTo>
                <a:lnTo>
                  <a:pt x="1062" y="1506"/>
                </a:lnTo>
                <a:lnTo>
                  <a:pt x="1056" y="1500"/>
                </a:lnTo>
                <a:lnTo>
                  <a:pt x="1044" y="1506"/>
                </a:lnTo>
                <a:lnTo>
                  <a:pt x="1032" y="1488"/>
                </a:lnTo>
                <a:lnTo>
                  <a:pt x="1020" y="1482"/>
                </a:lnTo>
                <a:lnTo>
                  <a:pt x="1008" y="1482"/>
                </a:lnTo>
                <a:lnTo>
                  <a:pt x="1002" y="1494"/>
                </a:lnTo>
                <a:lnTo>
                  <a:pt x="996" y="1488"/>
                </a:lnTo>
                <a:lnTo>
                  <a:pt x="984" y="1476"/>
                </a:lnTo>
                <a:lnTo>
                  <a:pt x="972" y="1464"/>
                </a:lnTo>
                <a:lnTo>
                  <a:pt x="960" y="1458"/>
                </a:lnTo>
                <a:lnTo>
                  <a:pt x="948" y="1434"/>
                </a:lnTo>
                <a:lnTo>
                  <a:pt x="924" y="1428"/>
                </a:lnTo>
                <a:lnTo>
                  <a:pt x="912" y="1422"/>
                </a:lnTo>
                <a:lnTo>
                  <a:pt x="894" y="1392"/>
                </a:lnTo>
                <a:lnTo>
                  <a:pt x="882" y="1386"/>
                </a:lnTo>
                <a:lnTo>
                  <a:pt x="870" y="1410"/>
                </a:lnTo>
                <a:lnTo>
                  <a:pt x="852" y="1386"/>
                </a:lnTo>
                <a:lnTo>
                  <a:pt x="834" y="1374"/>
                </a:lnTo>
                <a:lnTo>
                  <a:pt x="834" y="1362"/>
                </a:lnTo>
                <a:lnTo>
                  <a:pt x="828" y="1350"/>
                </a:lnTo>
                <a:lnTo>
                  <a:pt x="822" y="1344"/>
                </a:lnTo>
                <a:lnTo>
                  <a:pt x="828" y="1338"/>
                </a:lnTo>
                <a:lnTo>
                  <a:pt x="828" y="1332"/>
                </a:lnTo>
                <a:lnTo>
                  <a:pt x="822" y="1326"/>
                </a:lnTo>
                <a:lnTo>
                  <a:pt x="816" y="1320"/>
                </a:lnTo>
                <a:lnTo>
                  <a:pt x="804" y="1332"/>
                </a:lnTo>
                <a:lnTo>
                  <a:pt x="786" y="1344"/>
                </a:lnTo>
                <a:lnTo>
                  <a:pt x="786" y="1338"/>
                </a:lnTo>
                <a:lnTo>
                  <a:pt x="780" y="1320"/>
                </a:lnTo>
                <a:lnTo>
                  <a:pt x="756" y="1326"/>
                </a:lnTo>
                <a:lnTo>
                  <a:pt x="768" y="1296"/>
                </a:lnTo>
                <a:lnTo>
                  <a:pt x="768" y="1290"/>
                </a:lnTo>
                <a:lnTo>
                  <a:pt x="774" y="1278"/>
                </a:lnTo>
                <a:lnTo>
                  <a:pt x="768" y="1272"/>
                </a:lnTo>
                <a:lnTo>
                  <a:pt x="768" y="1266"/>
                </a:lnTo>
                <a:lnTo>
                  <a:pt x="762" y="1260"/>
                </a:lnTo>
                <a:lnTo>
                  <a:pt x="762" y="1248"/>
                </a:lnTo>
                <a:lnTo>
                  <a:pt x="768" y="1242"/>
                </a:lnTo>
                <a:lnTo>
                  <a:pt x="768" y="1230"/>
                </a:lnTo>
                <a:lnTo>
                  <a:pt x="762" y="1218"/>
                </a:lnTo>
                <a:lnTo>
                  <a:pt x="756" y="1212"/>
                </a:lnTo>
                <a:lnTo>
                  <a:pt x="750" y="1212"/>
                </a:lnTo>
                <a:lnTo>
                  <a:pt x="744" y="1212"/>
                </a:lnTo>
                <a:lnTo>
                  <a:pt x="738" y="1212"/>
                </a:lnTo>
                <a:lnTo>
                  <a:pt x="732" y="1206"/>
                </a:lnTo>
                <a:lnTo>
                  <a:pt x="738" y="1194"/>
                </a:lnTo>
                <a:lnTo>
                  <a:pt x="732" y="1194"/>
                </a:lnTo>
                <a:lnTo>
                  <a:pt x="714" y="1200"/>
                </a:lnTo>
                <a:lnTo>
                  <a:pt x="708" y="1200"/>
                </a:lnTo>
                <a:lnTo>
                  <a:pt x="702" y="1188"/>
                </a:lnTo>
                <a:lnTo>
                  <a:pt x="684" y="1182"/>
                </a:lnTo>
                <a:lnTo>
                  <a:pt x="678" y="1188"/>
                </a:lnTo>
                <a:lnTo>
                  <a:pt x="684" y="1200"/>
                </a:lnTo>
                <a:lnTo>
                  <a:pt x="690" y="1212"/>
                </a:lnTo>
                <a:lnTo>
                  <a:pt x="684" y="1218"/>
                </a:lnTo>
                <a:lnTo>
                  <a:pt x="684" y="1224"/>
                </a:lnTo>
                <a:lnTo>
                  <a:pt x="684" y="1236"/>
                </a:lnTo>
                <a:lnTo>
                  <a:pt x="684" y="1242"/>
                </a:lnTo>
                <a:lnTo>
                  <a:pt x="684" y="1254"/>
                </a:lnTo>
                <a:lnTo>
                  <a:pt x="678" y="1254"/>
                </a:lnTo>
                <a:lnTo>
                  <a:pt x="672" y="1254"/>
                </a:lnTo>
                <a:lnTo>
                  <a:pt x="660" y="1254"/>
                </a:lnTo>
                <a:lnTo>
                  <a:pt x="672" y="1260"/>
                </a:lnTo>
                <a:lnTo>
                  <a:pt x="666" y="1284"/>
                </a:lnTo>
                <a:lnTo>
                  <a:pt x="660" y="1284"/>
                </a:lnTo>
                <a:lnTo>
                  <a:pt x="648" y="1284"/>
                </a:lnTo>
                <a:lnTo>
                  <a:pt x="648" y="1296"/>
                </a:lnTo>
                <a:lnTo>
                  <a:pt x="624" y="1314"/>
                </a:lnTo>
                <a:lnTo>
                  <a:pt x="612" y="1332"/>
                </a:lnTo>
                <a:lnTo>
                  <a:pt x="606" y="1332"/>
                </a:lnTo>
                <a:lnTo>
                  <a:pt x="594" y="1344"/>
                </a:lnTo>
                <a:lnTo>
                  <a:pt x="582" y="1350"/>
                </a:lnTo>
                <a:lnTo>
                  <a:pt x="570" y="1356"/>
                </a:lnTo>
                <a:lnTo>
                  <a:pt x="564" y="1356"/>
                </a:lnTo>
                <a:lnTo>
                  <a:pt x="558" y="1362"/>
                </a:lnTo>
                <a:lnTo>
                  <a:pt x="546" y="1362"/>
                </a:lnTo>
                <a:lnTo>
                  <a:pt x="540" y="1356"/>
                </a:lnTo>
                <a:lnTo>
                  <a:pt x="540" y="1350"/>
                </a:lnTo>
                <a:lnTo>
                  <a:pt x="540" y="1344"/>
                </a:lnTo>
                <a:lnTo>
                  <a:pt x="552" y="1338"/>
                </a:lnTo>
                <a:lnTo>
                  <a:pt x="552" y="1332"/>
                </a:lnTo>
                <a:lnTo>
                  <a:pt x="558" y="1332"/>
                </a:lnTo>
                <a:lnTo>
                  <a:pt x="564" y="1326"/>
                </a:lnTo>
                <a:lnTo>
                  <a:pt x="576" y="1314"/>
                </a:lnTo>
                <a:lnTo>
                  <a:pt x="576" y="1308"/>
                </a:lnTo>
                <a:lnTo>
                  <a:pt x="582" y="1302"/>
                </a:lnTo>
                <a:lnTo>
                  <a:pt x="582" y="1290"/>
                </a:lnTo>
                <a:lnTo>
                  <a:pt x="582" y="1284"/>
                </a:lnTo>
                <a:lnTo>
                  <a:pt x="588" y="1278"/>
                </a:lnTo>
                <a:lnTo>
                  <a:pt x="594" y="1266"/>
                </a:lnTo>
                <a:lnTo>
                  <a:pt x="594" y="1260"/>
                </a:lnTo>
                <a:lnTo>
                  <a:pt x="600" y="1254"/>
                </a:lnTo>
                <a:lnTo>
                  <a:pt x="606" y="1248"/>
                </a:lnTo>
                <a:lnTo>
                  <a:pt x="600" y="1236"/>
                </a:lnTo>
                <a:lnTo>
                  <a:pt x="594" y="1224"/>
                </a:lnTo>
                <a:lnTo>
                  <a:pt x="576" y="1236"/>
                </a:lnTo>
                <a:lnTo>
                  <a:pt x="570" y="1236"/>
                </a:lnTo>
                <a:lnTo>
                  <a:pt x="564" y="1230"/>
                </a:lnTo>
                <a:lnTo>
                  <a:pt x="558" y="1224"/>
                </a:lnTo>
                <a:lnTo>
                  <a:pt x="552" y="1224"/>
                </a:lnTo>
                <a:lnTo>
                  <a:pt x="540" y="1218"/>
                </a:lnTo>
                <a:lnTo>
                  <a:pt x="540" y="1212"/>
                </a:lnTo>
                <a:lnTo>
                  <a:pt x="540" y="1194"/>
                </a:lnTo>
                <a:lnTo>
                  <a:pt x="540" y="1176"/>
                </a:lnTo>
                <a:lnTo>
                  <a:pt x="534" y="1164"/>
                </a:lnTo>
                <a:lnTo>
                  <a:pt x="534" y="1158"/>
                </a:lnTo>
                <a:lnTo>
                  <a:pt x="540" y="1146"/>
                </a:lnTo>
                <a:lnTo>
                  <a:pt x="540" y="1140"/>
                </a:lnTo>
                <a:lnTo>
                  <a:pt x="540" y="1122"/>
                </a:lnTo>
                <a:lnTo>
                  <a:pt x="540" y="1110"/>
                </a:lnTo>
                <a:lnTo>
                  <a:pt x="534" y="1092"/>
                </a:lnTo>
                <a:lnTo>
                  <a:pt x="516" y="1098"/>
                </a:lnTo>
                <a:lnTo>
                  <a:pt x="510" y="1098"/>
                </a:lnTo>
                <a:lnTo>
                  <a:pt x="504" y="1092"/>
                </a:lnTo>
                <a:lnTo>
                  <a:pt x="498" y="1086"/>
                </a:lnTo>
                <a:lnTo>
                  <a:pt x="492" y="1092"/>
                </a:lnTo>
                <a:lnTo>
                  <a:pt x="486" y="1092"/>
                </a:lnTo>
                <a:lnTo>
                  <a:pt x="474" y="1068"/>
                </a:lnTo>
                <a:lnTo>
                  <a:pt x="468" y="1062"/>
                </a:lnTo>
                <a:lnTo>
                  <a:pt x="474" y="1050"/>
                </a:lnTo>
                <a:lnTo>
                  <a:pt x="474" y="1038"/>
                </a:lnTo>
                <a:lnTo>
                  <a:pt x="468" y="1032"/>
                </a:lnTo>
                <a:lnTo>
                  <a:pt x="480" y="1020"/>
                </a:lnTo>
                <a:lnTo>
                  <a:pt x="456" y="1002"/>
                </a:lnTo>
                <a:lnTo>
                  <a:pt x="444" y="1002"/>
                </a:lnTo>
                <a:lnTo>
                  <a:pt x="438" y="990"/>
                </a:lnTo>
                <a:lnTo>
                  <a:pt x="420" y="996"/>
                </a:lnTo>
                <a:lnTo>
                  <a:pt x="414" y="1002"/>
                </a:lnTo>
                <a:lnTo>
                  <a:pt x="402" y="1008"/>
                </a:lnTo>
                <a:lnTo>
                  <a:pt x="396" y="1008"/>
                </a:lnTo>
                <a:lnTo>
                  <a:pt x="384" y="1014"/>
                </a:lnTo>
                <a:lnTo>
                  <a:pt x="378" y="1020"/>
                </a:lnTo>
                <a:lnTo>
                  <a:pt x="372" y="1020"/>
                </a:lnTo>
                <a:lnTo>
                  <a:pt x="360" y="1020"/>
                </a:lnTo>
                <a:lnTo>
                  <a:pt x="348" y="1026"/>
                </a:lnTo>
                <a:lnTo>
                  <a:pt x="342" y="1026"/>
                </a:lnTo>
                <a:lnTo>
                  <a:pt x="330" y="1026"/>
                </a:lnTo>
                <a:lnTo>
                  <a:pt x="324" y="1026"/>
                </a:lnTo>
                <a:lnTo>
                  <a:pt x="312" y="1026"/>
                </a:lnTo>
                <a:lnTo>
                  <a:pt x="312" y="1020"/>
                </a:lnTo>
                <a:lnTo>
                  <a:pt x="300" y="1026"/>
                </a:lnTo>
                <a:lnTo>
                  <a:pt x="276" y="1038"/>
                </a:lnTo>
                <a:lnTo>
                  <a:pt x="246" y="1050"/>
                </a:lnTo>
                <a:lnTo>
                  <a:pt x="252" y="1068"/>
                </a:lnTo>
                <a:lnTo>
                  <a:pt x="258" y="1092"/>
                </a:lnTo>
                <a:lnTo>
                  <a:pt x="258" y="1098"/>
                </a:lnTo>
                <a:lnTo>
                  <a:pt x="258" y="1104"/>
                </a:lnTo>
                <a:lnTo>
                  <a:pt x="282" y="1116"/>
                </a:lnTo>
                <a:lnTo>
                  <a:pt x="288" y="1122"/>
                </a:lnTo>
                <a:lnTo>
                  <a:pt x="288" y="1140"/>
                </a:lnTo>
                <a:lnTo>
                  <a:pt x="294" y="1158"/>
                </a:lnTo>
                <a:lnTo>
                  <a:pt x="288" y="1164"/>
                </a:lnTo>
                <a:lnTo>
                  <a:pt x="276" y="1170"/>
                </a:lnTo>
                <a:lnTo>
                  <a:pt x="270" y="1176"/>
                </a:lnTo>
                <a:lnTo>
                  <a:pt x="270" y="1182"/>
                </a:lnTo>
                <a:lnTo>
                  <a:pt x="270" y="1188"/>
                </a:lnTo>
                <a:lnTo>
                  <a:pt x="264" y="1188"/>
                </a:lnTo>
                <a:lnTo>
                  <a:pt x="252" y="1188"/>
                </a:lnTo>
                <a:lnTo>
                  <a:pt x="246" y="1188"/>
                </a:lnTo>
                <a:lnTo>
                  <a:pt x="240" y="1188"/>
                </a:lnTo>
                <a:lnTo>
                  <a:pt x="234" y="1194"/>
                </a:lnTo>
                <a:lnTo>
                  <a:pt x="216" y="1194"/>
                </a:lnTo>
                <a:lnTo>
                  <a:pt x="210" y="1188"/>
                </a:lnTo>
                <a:lnTo>
                  <a:pt x="204" y="1188"/>
                </a:lnTo>
                <a:lnTo>
                  <a:pt x="198" y="1194"/>
                </a:lnTo>
                <a:lnTo>
                  <a:pt x="192" y="1206"/>
                </a:lnTo>
                <a:lnTo>
                  <a:pt x="180" y="1206"/>
                </a:lnTo>
                <a:lnTo>
                  <a:pt x="174" y="1212"/>
                </a:lnTo>
                <a:lnTo>
                  <a:pt x="180" y="1224"/>
                </a:lnTo>
                <a:lnTo>
                  <a:pt x="180" y="1236"/>
                </a:lnTo>
                <a:lnTo>
                  <a:pt x="180" y="1242"/>
                </a:lnTo>
                <a:lnTo>
                  <a:pt x="180" y="1248"/>
                </a:lnTo>
                <a:lnTo>
                  <a:pt x="192" y="1242"/>
                </a:lnTo>
                <a:lnTo>
                  <a:pt x="192" y="1248"/>
                </a:lnTo>
                <a:lnTo>
                  <a:pt x="198" y="1254"/>
                </a:lnTo>
                <a:lnTo>
                  <a:pt x="186" y="1266"/>
                </a:lnTo>
                <a:lnTo>
                  <a:pt x="180" y="1266"/>
                </a:lnTo>
                <a:lnTo>
                  <a:pt x="174" y="1260"/>
                </a:lnTo>
                <a:lnTo>
                  <a:pt x="168" y="1260"/>
                </a:lnTo>
                <a:lnTo>
                  <a:pt x="162" y="1242"/>
                </a:lnTo>
                <a:lnTo>
                  <a:pt x="150" y="1236"/>
                </a:lnTo>
                <a:lnTo>
                  <a:pt x="138" y="1242"/>
                </a:lnTo>
                <a:lnTo>
                  <a:pt x="138" y="1254"/>
                </a:lnTo>
                <a:lnTo>
                  <a:pt x="126" y="1254"/>
                </a:lnTo>
                <a:lnTo>
                  <a:pt x="114" y="1266"/>
                </a:lnTo>
                <a:lnTo>
                  <a:pt x="96" y="1260"/>
                </a:lnTo>
                <a:lnTo>
                  <a:pt x="96" y="1242"/>
                </a:lnTo>
                <a:lnTo>
                  <a:pt x="102" y="1230"/>
                </a:lnTo>
                <a:lnTo>
                  <a:pt x="108" y="1224"/>
                </a:lnTo>
                <a:lnTo>
                  <a:pt x="114" y="1212"/>
                </a:lnTo>
                <a:lnTo>
                  <a:pt x="120" y="1200"/>
                </a:lnTo>
                <a:lnTo>
                  <a:pt x="126" y="1194"/>
                </a:lnTo>
                <a:lnTo>
                  <a:pt x="114" y="1146"/>
                </a:lnTo>
                <a:lnTo>
                  <a:pt x="108" y="1146"/>
                </a:lnTo>
                <a:lnTo>
                  <a:pt x="102" y="1116"/>
                </a:lnTo>
                <a:lnTo>
                  <a:pt x="78" y="1122"/>
                </a:lnTo>
                <a:lnTo>
                  <a:pt x="72" y="1110"/>
                </a:lnTo>
                <a:lnTo>
                  <a:pt x="66" y="1104"/>
                </a:lnTo>
                <a:lnTo>
                  <a:pt x="60" y="1086"/>
                </a:lnTo>
                <a:lnTo>
                  <a:pt x="36" y="1098"/>
                </a:lnTo>
                <a:lnTo>
                  <a:pt x="30" y="1092"/>
                </a:lnTo>
                <a:lnTo>
                  <a:pt x="18" y="1092"/>
                </a:lnTo>
                <a:lnTo>
                  <a:pt x="0" y="1068"/>
                </a:lnTo>
                <a:lnTo>
                  <a:pt x="12" y="1062"/>
                </a:lnTo>
                <a:lnTo>
                  <a:pt x="24" y="1062"/>
                </a:lnTo>
                <a:lnTo>
                  <a:pt x="30" y="1056"/>
                </a:lnTo>
                <a:lnTo>
                  <a:pt x="54" y="1044"/>
                </a:lnTo>
                <a:lnTo>
                  <a:pt x="54" y="1026"/>
                </a:lnTo>
                <a:lnTo>
                  <a:pt x="72" y="1032"/>
                </a:lnTo>
                <a:lnTo>
                  <a:pt x="66" y="1008"/>
                </a:lnTo>
                <a:lnTo>
                  <a:pt x="66" y="1002"/>
                </a:lnTo>
                <a:lnTo>
                  <a:pt x="54" y="996"/>
                </a:lnTo>
                <a:lnTo>
                  <a:pt x="60" y="972"/>
                </a:lnTo>
                <a:lnTo>
                  <a:pt x="48" y="948"/>
                </a:lnTo>
                <a:lnTo>
                  <a:pt x="12" y="864"/>
                </a:lnTo>
                <a:lnTo>
                  <a:pt x="12" y="852"/>
                </a:lnTo>
                <a:lnTo>
                  <a:pt x="18" y="822"/>
                </a:lnTo>
                <a:lnTo>
                  <a:pt x="18" y="804"/>
                </a:lnTo>
                <a:lnTo>
                  <a:pt x="18" y="792"/>
                </a:lnTo>
                <a:lnTo>
                  <a:pt x="12" y="774"/>
                </a:lnTo>
                <a:lnTo>
                  <a:pt x="12" y="768"/>
                </a:lnTo>
                <a:lnTo>
                  <a:pt x="18" y="756"/>
                </a:lnTo>
                <a:lnTo>
                  <a:pt x="18" y="726"/>
                </a:lnTo>
                <a:lnTo>
                  <a:pt x="30" y="738"/>
                </a:lnTo>
                <a:lnTo>
                  <a:pt x="48" y="720"/>
                </a:lnTo>
                <a:lnTo>
                  <a:pt x="48" y="708"/>
                </a:lnTo>
                <a:lnTo>
                  <a:pt x="48" y="702"/>
                </a:lnTo>
                <a:lnTo>
                  <a:pt x="48" y="696"/>
                </a:lnTo>
                <a:lnTo>
                  <a:pt x="48" y="690"/>
                </a:lnTo>
                <a:lnTo>
                  <a:pt x="60" y="684"/>
                </a:lnTo>
                <a:lnTo>
                  <a:pt x="66" y="684"/>
                </a:lnTo>
                <a:lnTo>
                  <a:pt x="72" y="684"/>
                </a:lnTo>
                <a:lnTo>
                  <a:pt x="72" y="678"/>
                </a:lnTo>
                <a:lnTo>
                  <a:pt x="66" y="660"/>
                </a:lnTo>
                <a:lnTo>
                  <a:pt x="54" y="648"/>
                </a:lnTo>
                <a:lnTo>
                  <a:pt x="48" y="648"/>
                </a:lnTo>
                <a:lnTo>
                  <a:pt x="42" y="636"/>
                </a:lnTo>
                <a:lnTo>
                  <a:pt x="42" y="624"/>
                </a:lnTo>
                <a:lnTo>
                  <a:pt x="54" y="612"/>
                </a:lnTo>
                <a:lnTo>
                  <a:pt x="66" y="606"/>
                </a:lnTo>
                <a:lnTo>
                  <a:pt x="66" y="600"/>
                </a:lnTo>
                <a:lnTo>
                  <a:pt x="72" y="582"/>
                </a:lnTo>
                <a:lnTo>
                  <a:pt x="84" y="570"/>
                </a:lnTo>
                <a:lnTo>
                  <a:pt x="66" y="546"/>
                </a:lnTo>
                <a:lnTo>
                  <a:pt x="72" y="546"/>
                </a:lnTo>
                <a:lnTo>
                  <a:pt x="72" y="540"/>
                </a:lnTo>
                <a:lnTo>
                  <a:pt x="72" y="534"/>
                </a:lnTo>
                <a:lnTo>
                  <a:pt x="84" y="522"/>
                </a:lnTo>
                <a:lnTo>
                  <a:pt x="102" y="510"/>
                </a:lnTo>
                <a:lnTo>
                  <a:pt x="114" y="504"/>
                </a:lnTo>
                <a:lnTo>
                  <a:pt x="102" y="486"/>
                </a:lnTo>
                <a:lnTo>
                  <a:pt x="108" y="468"/>
                </a:lnTo>
                <a:lnTo>
                  <a:pt x="102" y="462"/>
                </a:lnTo>
                <a:lnTo>
                  <a:pt x="120" y="468"/>
                </a:lnTo>
                <a:lnTo>
                  <a:pt x="120" y="444"/>
                </a:lnTo>
                <a:lnTo>
                  <a:pt x="132" y="438"/>
                </a:lnTo>
                <a:lnTo>
                  <a:pt x="126" y="426"/>
                </a:lnTo>
                <a:lnTo>
                  <a:pt x="108" y="432"/>
                </a:lnTo>
                <a:lnTo>
                  <a:pt x="90" y="408"/>
                </a:lnTo>
                <a:lnTo>
                  <a:pt x="78" y="384"/>
                </a:lnTo>
                <a:lnTo>
                  <a:pt x="102" y="378"/>
                </a:lnTo>
                <a:lnTo>
                  <a:pt x="108" y="366"/>
                </a:lnTo>
                <a:lnTo>
                  <a:pt x="108" y="360"/>
                </a:lnTo>
                <a:lnTo>
                  <a:pt x="120" y="354"/>
                </a:lnTo>
                <a:lnTo>
                  <a:pt x="114" y="342"/>
                </a:lnTo>
                <a:lnTo>
                  <a:pt x="126" y="342"/>
                </a:lnTo>
                <a:lnTo>
                  <a:pt x="138" y="354"/>
                </a:lnTo>
                <a:lnTo>
                  <a:pt x="150" y="348"/>
                </a:lnTo>
                <a:lnTo>
                  <a:pt x="150" y="324"/>
                </a:lnTo>
                <a:lnTo>
                  <a:pt x="144" y="318"/>
                </a:lnTo>
                <a:lnTo>
                  <a:pt x="138" y="300"/>
                </a:lnTo>
                <a:lnTo>
                  <a:pt x="150" y="288"/>
                </a:lnTo>
                <a:lnTo>
                  <a:pt x="156" y="294"/>
                </a:lnTo>
                <a:lnTo>
                  <a:pt x="168" y="288"/>
                </a:lnTo>
                <a:lnTo>
                  <a:pt x="186" y="282"/>
                </a:lnTo>
                <a:lnTo>
                  <a:pt x="204" y="276"/>
                </a:lnTo>
                <a:lnTo>
                  <a:pt x="228" y="270"/>
                </a:lnTo>
                <a:lnTo>
                  <a:pt x="246" y="264"/>
                </a:lnTo>
                <a:lnTo>
                  <a:pt x="252" y="264"/>
                </a:lnTo>
                <a:lnTo>
                  <a:pt x="264" y="258"/>
                </a:lnTo>
                <a:lnTo>
                  <a:pt x="270" y="240"/>
                </a:lnTo>
                <a:lnTo>
                  <a:pt x="276" y="246"/>
                </a:lnTo>
                <a:lnTo>
                  <a:pt x="288" y="234"/>
                </a:lnTo>
                <a:lnTo>
                  <a:pt x="300" y="222"/>
                </a:lnTo>
                <a:lnTo>
                  <a:pt x="306" y="210"/>
                </a:lnTo>
                <a:lnTo>
                  <a:pt x="312" y="210"/>
                </a:lnTo>
                <a:lnTo>
                  <a:pt x="324" y="204"/>
                </a:lnTo>
                <a:lnTo>
                  <a:pt x="330" y="204"/>
                </a:lnTo>
                <a:lnTo>
                  <a:pt x="330" y="216"/>
                </a:lnTo>
                <a:lnTo>
                  <a:pt x="330" y="228"/>
                </a:lnTo>
                <a:lnTo>
                  <a:pt x="336" y="234"/>
                </a:lnTo>
                <a:lnTo>
                  <a:pt x="360" y="234"/>
                </a:lnTo>
                <a:lnTo>
                  <a:pt x="384" y="246"/>
                </a:lnTo>
                <a:lnTo>
                  <a:pt x="396" y="252"/>
                </a:lnTo>
                <a:lnTo>
                  <a:pt x="402" y="252"/>
                </a:lnTo>
                <a:lnTo>
                  <a:pt x="414" y="240"/>
                </a:lnTo>
                <a:lnTo>
                  <a:pt x="420" y="228"/>
                </a:lnTo>
                <a:lnTo>
                  <a:pt x="432" y="228"/>
                </a:lnTo>
                <a:lnTo>
                  <a:pt x="432" y="240"/>
                </a:lnTo>
                <a:lnTo>
                  <a:pt x="438" y="246"/>
                </a:lnTo>
                <a:lnTo>
                  <a:pt x="444" y="234"/>
                </a:lnTo>
                <a:lnTo>
                  <a:pt x="450" y="240"/>
                </a:lnTo>
                <a:lnTo>
                  <a:pt x="450" y="252"/>
                </a:lnTo>
                <a:lnTo>
                  <a:pt x="462" y="264"/>
                </a:lnTo>
                <a:lnTo>
                  <a:pt x="474" y="252"/>
                </a:lnTo>
                <a:lnTo>
                  <a:pt x="474" y="240"/>
                </a:lnTo>
                <a:lnTo>
                  <a:pt x="462" y="228"/>
                </a:lnTo>
                <a:lnTo>
                  <a:pt x="468" y="192"/>
                </a:lnTo>
                <a:lnTo>
                  <a:pt x="474" y="204"/>
                </a:lnTo>
                <a:lnTo>
                  <a:pt x="492" y="234"/>
                </a:lnTo>
                <a:lnTo>
                  <a:pt x="492" y="252"/>
                </a:lnTo>
                <a:lnTo>
                  <a:pt x="492" y="288"/>
                </a:lnTo>
                <a:lnTo>
                  <a:pt x="486" y="300"/>
                </a:lnTo>
                <a:lnTo>
                  <a:pt x="510" y="306"/>
                </a:lnTo>
                <a:lnTo>
                  <a:pt x="522" y="306"/>
                </a:lnTo>
                <a:lnTo>
                  <a:pt x="546" y="312"/>
                </a:lnTo>
                <a:lnTo>
                  <a:pt x="546" y="306"/>
                </a:lnTo>
                <a:lnTo>
                  <a:pt x="558" y="306"/>
                </a:lnTo>
                <a:lnTo>
                  <a:pt x="558" y="294"/>
                </a:lnTo>
                <a:lnTo>
                  <a:pt x="558" y="288"/>
                </a:lnTo>
                <a:lnTo>
                  <a:pt x="576" y="282"/>
                </a:lnTo>
                <a:lnTo>
                  <a:pt x="582" y="288"/>
                </a:lnTo>
                <a:lnTo>
                  <a:pt x="594" y="282"/>
                </a:lnTo>
                <a:lnTo>
                  <a:pt x="612" y="282"/>
                </a:lnTo>
                <a:lnTo>
                  <a:pt x="624" y="270"/>
                </a:lnTo>
                <a:lnTo>
                  <a:pt x="606" y="258"/>
                </a:lnTo>
                <a:lnTo>
                  <a:pt x="600" y="240"/>
                </a:lnTo>
                <a:lnTo>
                  <a:pt x="612" y="234"/>
                </a:lnTo>
                <a:lnTo>
                  <a:pt x="630" y="240"/>
                </a:lnTo>
                <a:lnTo>
                  <a:pt x="648" y="228"/>
                </a:lnTo>
                <a:lnTo>
                  <a:pt x="672" y="204"/>
                </a:lnTo>
                <a:lnTo>
                  <a:pt x="690" y="234"/>
                </a:lnTo>
                <a:lnTo>
                  <a:pt x="708" y="258"/>
                </a:lnTo>
                <a:lnTo>
                  <a:pt x="732" y="264"/>
                </a:lnTo>
                <a:lnTo>
                  <a:pt x="738" y="270"/>
                </a:lnTo>
                <a:lnTo>
                  <a:pt x="756" y="270"/>
                </a:lnTo>
                <a:lnTo>
                  <a:pt x="762" y="270"/>
                </a:lnTo>
                <a:lnTo>
                  <a:pt x="768" y="270"/>
                </a:lnTo>
                <a:lnTo>
                  <a:pt x="774" y="276"/>
                </a:lnTo>
                <a:lnTo>
                  <a:pt x="780" y="282"/>
                </a:lnTo>
                <a:lnTo>
                  <a:pt x="792" y="282"/>
                </a:lnTo>
                <a:lnTo>
                  <a:pt x="786" y="300"/>
                </a:lnTo>
                <a:lnTo>
                  <a:pt x="780" y="306"/>
                </a:lnTo>
                <a:lnTo>
                  <a:pt x="786" y="324"/>
                </a:lnTo>
                <a:lnTo>
                  <a:pt x="792" y="324"/>
                </a:lnTo>
                <a:lnTo>
                  <a:pt x="798" y="330"/>
                </a:lnTo>
                <a:lnTo>
                  <a:pt x="804" y="348"/>
                </a:lnTo>
                <a:lnTo>
                  <a:pt x="798" y="354"/>
                </a:lnTo>
                <a:lnTo>
                  <a:pt x="804" y="366"/>
                </a:lnTo>
                <a:lnTo>
                  <a:pt x="816" y="378"/>
                </a:lnTo>
                <a:lnTo>
                  <a:pt x="834" y="372"/>
                </a:lnTo>
                <a:lnTo>
                  <a:pt x="858" y="360"/>
                </a:lnTo>
                <a:lnTo>
                  <a:pt x="870" y="348"/>
                </a:lnTo>
                <a:lnTo>
                  <a:pt x="882" y="330"/>
                </a:lnTo>
                <a:lnTo>
                  <a:pt x="900" y="312"/>
                </a:lnTo>
                <a:lnTo>
                  <a:pt x="906" y="306"/>
                </a:lnTo>
                <a:lnTo>
                  <a:pt x="906" y="294"/>
                </a:lnTo>
                <a:lnTo>
                  <a:pt x="912" y="288"/>
                </a:lnTo>
                <a:lnTo>
                  <a:pt x="894" y="258"/>
                </a:lnTo>
                <a:lnTo>
                  <a:pt x="876" y="228"/>
                </a:lnTo>
                <a:lnTo>
                  <a:pt x="900" y="228"/>
                </a:lnTo>
                <a:lnTo>
                  <a:pt x="918" y="228"/>
                </a:lnTo>
                <a:lnTo>
                  <a:pt x="936" y="210"/>
                </a:lnTo>
                <a:lnTo>
                  <a:pt x="942" y="210"/>
                </a:lnTo>
                <a:lnTo>
                  <a:pt x="948" y="204"/>
                </a:lnTo>
                <a:lnTo>
                  <a:pt x="966" y="192"/>
                </a:lnTo>
                <a:lnTo>
                  <a:pt x="990" y="186"/>
                </a:lnTo>
                <a:lnTo>
                  <a:pt x="984" y="150"/>
                </a:lnTo>
                <a:lnTo>
                  <a:pt x="996" y="132"/>
                </a:lnTo>
                <a:lnTo>
                  <a:pt x="1008" y="126"/>
                </a:lnTo>
                <a:lnTo>
                  <a:pt x="1032" y="120"/>
                </a:lnTo>
                <a:lnTo>
                  <a:pt x="1056" y="90"/>
                </a:lnTo>
                <a:lnTo>
                  <a:pt x="1062" y="90"/>
                </a:lnTo>
                <a:lnTo>
                  <a:pt x="1068" y="78"/>
                </a:lnTo>
                <a:lnTo>
                  <a:pt x="1068" y="72"/>
                </a:lnTo>
                <a:lnTo>
                  <a:pt x="1074" y="54"/>
                </a:lnTo>
                <a:lnTo>
                  <a:pt x="1086" y="42"/>
                </a:lnTo>
                <a:lnTo>
                  <a:pt x="1068" y="24"/>
                </a:lnTo>
                <a:lnTo>
                  <a:pt x="1098" y="12"/>
                </a:lnTo>
                <a:lnTo>
                  <a:pt x="1110" y="18"/>
                </a:lnTo>
                <a:lnTo>
                  <a:pt x="1110" y="0"/>
                </a:lnTo>
                <a:lnTo>
                  <a:pt x="1122" y="0"/>
                </a:lnTo>
                <a:lnTo>
                  <a:pt x="1140" y="0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77" name="Freeform 21"/>
          <p:cNvSpPr>
            <a:spLocks/>
          </p:cNvSpPr>
          <p:nvPr/>
        </p:nvSpPr>
        <p:spPr bwMode="gray">
          <a:xfrm>
            <a:off x="3708400" y="3938588"/>
            <a:ext cx="1631950" cy="2435225"/>
          </a:xfrm>
          <a:custGeom>
            <a:avLst/>
            <a:gdLst>
              <a:gd name="T0" fmla="*/ 120284 w 1692"/>
              <a:gd name="T1" fmla="*/ 14691 h 2532"/>
              <a:gd name="T2" fmla="*/ 123557 w 1692"/>
              <a:gd name="T3" fmla="*/ 20404 h 2532"/>
              <a:gd name="T4" fmla="*/ 118647 w 1692"/>
              <a:gd name="T5" fmla="*/ 28565 h 2532"/>
              <a:gd name="T6" fmla="*/ 117829 w 1692"/>
              <a:gd name="T7" fmla="*/ 33462 h 2532"/>
              <a:gd name="T8" fmla="*/ 112919 w 1692"/>
              <a:gd name="T9" fmla="*/ 39992 h 2532"/>
              <a:gd name="T10" fmla="*/ 112101 w 1692"/>
              <a:gd name="T11" fmla="*/ 52234 h 2532"/>
              <a:gd name="T12" fmla="*/ 112101 w 1692"/>
              <a:gd name="T13" fmla="*/ 60395 h 2532"/>
              <a:gd name="T14" fmla="*/ 112919 w 1692"/>
              <a:gd name="T15" fmla="*/ 66109 h 2532"/>
              <a:gd name="T16" fmla="*/ 103100 w 1692"/>
              <a:gd name="T17" fmla="*/ 73454 h 2532"/>
              <a:gd name="T18" fmla="*/ 103100 w 1692"/>
              <a:gd name="T19" fmla="*/ 84880 h 2532"/>
              <a:gd name="T20" fmla="*/ 106373 w 1692"/>
              <a:gd name="T21" fmla="*/ 92225 h 2532"/>
              <a:gd name="T22" fmla="*/ 101464 w 1692"/>
              <a:gd name="T23" fmla="*/ 102836 h 2532"/>
              <a:gd name="T24" fmla="*/ 87553 w 1692"/>
              <a:gd name="T25" fmla="*/ 112629 h 2532"/>
              <a:gd name="T26" fmla="*/ 87553 w 1692"/>
              <a:gd name="T27" fmla="*/ 121607 h 2532"/>
              <a:gd name="T28" fmla="*/ 82644 w 1692"/>
              <a:gd name="T29" fmla="*/ 134666 h 2532"/>
              <a:gd name="T30" fmla="*/ 72007 w 1692"/>
              <a:gd name="T31" fmla="*/ 146092 h 2532"/>
              <a:gd name="T32" fmla="*/ 57278 w 1692"/>
              <a:gd name="T33" fmla="*/ 163231 h 2532"/>
              <a:gd name="T34" fmla="*/ 40095 w 1692"/>
              <a:gd name="T35" fmla="*/ 163231 h 2532"/>
              <a:gd name="T36" fmla="*/ 33549 w 1692"/>
              <a:gd name="T37" fmla="*/ 164047 h 2532"/>
              <a:gd name="T38" fmla="*/ 29457 w 1692"/>
              <a:gd name="T39" fmla="*/ 171393 h 2532"/>
              <a:gd name="T40" fmla="*/ 24548 w 1692"/>
              <a:gd name="T41" fmla="*/ 177922 h 2532"/>
              <a:gd name="T42" fmla="*/ 14729 w 1692"/>
              <a:gd name="T43" fmla="*/ 181186 h 2532"/>
              <a:gd name="T44" fmla="*/ 10637 w 1692"/>
              <a:gd name="T45" fmla="*/ 178738 h 2532"/>
              <a:gd name="T46" fmla="*/ 11456 w 1692"/>
              <a:gd name="T47" fmla="*/ 176289 h 2532"/>
              <a:gd name="T48" fmla="*/ 13910 w 1692"/>
              <a:gd name="T49" fmla="*/ 166496 h 2532"/>
              <a:gd name="T50" fmla="*/ 5728 w 1692"/>
              <a:gd name="T51" fmla="*/ 166496 h 2532"/>
              <a:gd name="T52" fmla="*/ 0 w 1692"/>
              <a:gd name="T53" fmla="*/ 164863 h 2532"/>
              <a:gd name="T54" fmla="*/ 3273 w 1692"/>
              <a:gd name="T55" fmla="*/ 155886 h 2532"/>
              <a:gd name="T56" fmla="*/ 9001 w 1692"/>
              <a:gd name="T57" fmla="*/ 147724 h 2532"/>
              <a:gd name="T58" fmla="*/ 9819 w 1692"/>
              <a:gd name="T59" fmla="*/ 140379 h 2532"/>
              <a:gd name="T60" fmla="*/ 8183 w 1692"/>
              <a:gd name="T61" fmla="*/ 137930 h 2532"/>
              <a:gd name="T62" fmla="*/ 10637 w 1692"/>
              <a:gd name="T63" fmla="*/ 131401 h 2532"/>
              <a:gd name="T64" fmla="*/ 13092 w 1692"/>
              <a:gd name="T65" fmla="*/ 123239 h 2532"/>
              <a:gd name="T66" fmla="*/ 8183 w 1692"/>
              <a:gd name="T67" fmla="*/ 110997 h 2532"/>
              <a:gd name="T68" fmla="*/ 10637 w 1692"/>
              <a:gd name="T69" fmla="*/ 101203 h 2532"/>
              <a:gd name="T70" fmla="*/ 6546 w 1692"/>
              <a:gd name="T71" fmla="*/ 88145 h 2532"/>
              <a:gd name="T72" fmla="*/ 4910 w 1692"/>
              <a:gd name="T73" fmla="*/ 77535 h 2532"/>
              <a:gd name="T74" fmla="*/ 13910 w 1692"/>
              <a:gd name="T75" fmla="*/ 71005 h 2532"/>
              <a:gd name="T76" fmla="*/ 13092 w 1692"/>
              <a:gd name="T77" fmla="*/ 62844 h 2532"/>
              <a:gd name="T78" fmla="*/ 4910 w 1692"/>
              <a:gd name="T79" fmla="*/ 52234 h 2532"/>
              <a:gd name="T80" fmla="*/ 5728 w 1692"/>
              <a:gd name="T81" fmla="*/ 39992 h 2532"/>
              <a:gd name="T82" fmla="*/ 4091 w 1692"/>
              <a:gd name="T83" fmla="*/ 28565 h 2532"/>
              <a:gd name="T84" fmla="*/ 5728 w 1692"/>
              <a:gd name="T85" fmla="*/ 19588 h 2532"/>
              <a:gd name="T86" fmla="*/ 10637 w 1692"/>
              <a:gd name="T87" fmla="*/ 17139 h 2532"/>
              <a:gd name="T88" fmla="*/ 19638 w 1692"/>
              <a:gd name="T89" fmla="*/ 13875 h 2532"/>
              <a:gd name="T90" fmla="*/ 29457 w 1692"/>
              <a:gd name="T91" fmla="*/ 7345 h 2532"/>
              <a:gd name="T92" fmla="*/ 37640 w 1692"/>
              <a:gd name="T93" fmla="*/ 4081 h 2532"/>
              <a:gd name="T94" fmla="*/ 38458 w 1692"/>
              <a:gd name="T95" fmla="*/ 13058 h 2532"/>
              <a:gd name="T96" fmla="*/ 45822 w 1692"/>
              <a:gd name="T97" fmla="*/ 15507 h 2532"/>
              <a:gd name="T98" fmla="*/ 53187 w 1692"/>
              <a:gd name="T99" fmla="*/ 10610 h 2532"/>
              <a:gd name="T100" fmla="*/ 56460 w 1692"/>
              <a:gd name="T101" fmla="*/ 3265 h 2532"/>
              <a:gd name="T102" fmla="*/ 67097 w 1692"/>
              <a:gd name="T103" fmla="*/ 2448 h 2532"/>
              <a:gd name="T104" fmla="*/ 75280 w 1692"/>
              <a:gd name="T105" fmla="*/ 15507 h 2532"/>
              <a:gd name="T106" fmla="*/ 89190 w 1692"/>
              <a:gd name="T107" fmla="*/ 21220 h 2532"/>
              <a:gd name="T108" fmla="*/ 98191 w 1692"/>
              <a:gd name="T109" fmla="*/ 15507 h 2532"/>
              <a:gd name="T110" fmla="*/ 106373 w 1692"/>
              <a:gd name="T111" fmla="*/ 14691 h 2532"/>
              <a:gd name="T112" fmla="*/ 116192 w 1692"/>
              <a:gd name="T113" fmla="*/ 8978 h 253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692" h="2532">
                <a:moveTo>
                  <a:pt x="1590" y="120"/>
                </a:moveTo>
                <a:lnTo>
                  <a:pt x="1614" y="138"/>
                </a:lnTo>
                <a:lnTo>
                  <a:pt x="1620" y="144"/>
                </a:lnTo>
                <a:lnTo>
                  <a:pt x="1632" y="150"/>
                </a:lnTo>
                <a:lnTo>
                  <a:pt x="1644" y="162"/>
                </a:lnTo>
                <a:lnTo>
                  <a:pt x="1638" y="168"/>
                </a:lnTo>
                <a:lnTo>
                  <a:pt x="1638" y="186"/>
                </a:lnTo>
                <a:lnTo>
                  <a:pt x="1644" y="198"/>
                </a:lnTo>
                <a:lnTo>
                  <a:pt x="1644" y="204"/>
                </a:lnTo>
                <a:lnTo>
                  <a:pt x="1626" y="216"/>
                </a:lnTo>
                <a:lnTo>
                  <a:pt x="1614" y="228"/>
                </a:lnTo>
                <a:lnTo>
                  <a:pt x="1614" y="240"/>
                </a:lnTo>
                <a:lnTo>
                  <a:pt x="1620" y="252"/>
                </a:lnTo>
                <a:lnTo>
                  <a:pt x="1656" y="240"/>
                </a:lnTo>
                <a:lnTo>
                  <a:pt x="1674" y="240"/>
                </a:lnTo>
                <a:lnTo>
                  <a:pt x="1686" y="258"/>
                </a:lnTo>
                <a:lnTo>
                  <a:pt x="1692" y="264"/>
                </a:lnTo>
                <a:lnTo>
                  <a:pt x="1692" y="282"/>
                </a:lnTo>
                <a:lnTo>
                  <a:pt x="1686" y="294"/>
                </a:lnTo>
                <a:lnTo>
                  <a:pt x="1680" y="300"/>
                </a:lnTo>
                <a:lnTo>
                  <a:pt x="1662" y="306"/>
                </a:lnTo>
                <a:lnTo>
                  <a:pt x="1656" y="318"/>
                </a:lnTo>
                <a:lnTo>
                  <a:pt x="1644" y="342"/>
                </a:lnTo>
                <a:lnTo>
                  <a:pt x="1632" y="360"/>
                </a:lnTo>
                <a:lnTo>
                  <a:pt x="1608" y="384"/>
                </a:lnTo>
                <a:lnTo>
                  <a:pt x="1620" y="384"/>
                </a:lnTo>
                <a:lnTo>
                  <a:pt x="1626" y="396"/>
                </a:lnTo>
                <a:lnTo>
                  <a:pt x="1632" y="402"/>
                </a:lnTo>
                <a:lnTo>
                  <a:pt x="1650" y="414"/>
                </a:lnTo>
                <a:lnTo>
                  <a:pt x="1662" y="426"/>
                </a:lnTo>
                <a:lnTo>
                  <a:pt x="1674" y="432"/>
                </a:lnTo>
                <a:lnTo>
                  <a:pt x="1674" y="444"/>
                </a:lnTo>
                <a:lnTo>
                  <a:pt x="1680" y="456"/>
                </a:lnTo>
                <a:lnTo>
                  <a:pt x="1656" y="474"/>
                </a:lnTo>
                <a:lnTo>
                  <a:pt x="1644" y="468"/>
                </a:lnTo>
                <a:lnTo>
                  <a:pt x="1620" y="462"/>
                </a:lnTo>
                <a:lnTo>
                  <a:pt x="1554" y="462"/>
                </a:lnTo>
                <a:lnTo>
                  <a:pt x="1572" y="492"/>
                </a:lnTo>
                <a:lnTo>
                  <a:pt x="1566" y="498"/>
                </a:lnTo>
                <a:lnTo>
                  <a:pt x="1548" y="492"/>
                </a:lnTo>
                <a:lnTo>
                  <a:pt x="1530" y="498"/>
                </a:lnTo>
                <a:lnTo>
                  <a:pt x="1518" y="504"/>
                </a:lnTo>
                <a:lnTo>
                  <a:pt x="1512" y="516"/>
                </a:lnTo>
                <a:lnTo>
                  <a:pt x="1524" y="534"/>
                </a:lnTo>
                <a:lnTo>
                  <a:pt x="1548" y="546"/>
                </a:lnTo>
                <a:lnTo>
                  <a:pt x="1566" y="540"/>
                </a:lnTo>
                <a:lnTo>
                  <a:pt x="1560" y="516"/>
                </a:lnTo>
                <a:lnTo>
                  <a:pt x="1590" y="510"/>
                </a:lnTo>
                <a:lnTo>
                  <a:pt x="1602" y="540"/>
                </a:lnTo>
                <a:lnTo>
                  <a:pt x="1542" y="630"/>
                </a:lnTo>
                <a:lnTo>
                  <a:pt x="1530" y="660"/>
                </a:lnTo>
                <a:lnTo>
                  <a:pt x="1506" y="708"/>
                </a:lnTo>
                <a:lnTo>
                  <a:pt x="1530" y="714"/>
                </a:lnTo>
                <a:lnTo>
                  <a:pt x="1536" y="720"/>
                </a:lnTo>
                <a:lnTo>
                  <a:pt x="1548" y="726"/>
                </a:lnTo>
                <a:lnTo>
                  <a:pt x="1560" y="744"/>
                </a:lnTo>
                <a:lnTo>
                  <a:pt x="1566" y="756"/>
                </a:lnTo>
                <a:lnTo>
                  <a:pt x="1566" y="762"/>
                </a:lnTo>
                <a:lnTo>
                  <a:pt x="1572" y="768"/>
                </a:lnTo>
                <a:lnTo>
                  <a:pt x="1572" y="792"/>
                </a:lnTo>
                <a:lnTo>
                  <a:pt x="1560" y="816"/>
                </a:lnTo>
                <a:lnTo>
                  <a:pt x="1554" y="822"/>
                </a:lnTo>
                <a:lnTo>
                  <a:pt x="1542" y="834"/>
                </a:lnTo>
                <a:lnTo>
                  <a:pt x="1542" y="846"/>
                </a:lnTo>
                <a:lnTo>
                  <a:pt x="1536" y="852"/>
                </a:lnTo>
                <a:lnTo>
                  <a:pt x="1536" y="858"/>
                </a:lnTo>
                <a:lnTo>
                  <a:pt x="1530" y="864"/>
                </a:lnTo>
                <a:lnTo>
                  <a:pt x="1518" y="870"/>
                </a:lnTo>
                <a:lnTo>
                  <a:pt x="1512" y="876"/>
                </a:lnTo>
                <a:lnTo>
                  <a:pt x="1518" y="888"/>
                </a:lnTo>
                <a:lnTo>
                  <a:pt x="1536" y="882"/>
                </a:lnTo>
                <a:lnTo>
                  <a:pt x="1554" y="918"/>
                </a:lnTo>
                <a:lnTo>
                  <a:pt x="1548" y="960"/>
                </a:lnTo>
                <a:lnTo>
                  <a:pt x="1572" y="978"/>
                </a:lnTo>
                <a:lnTo>
                  <a:pt x="1554" y="1014"/>
                </a:lnTo>
                <a:lnTo>
                  <a:pt x="1536" y="1044"/>
                </a:lnTo>
                <a:lnTo>
                  <a:pt x="1524" y="1062"/>
                </a:lnTo>
                <a:lnTo>
                  <a:pt x="1500" y="1050"/>
                </a:lnTo>
                <a:lnTo>
                  <a:pt x="1452" y="1020"/>
                </a:lnTo>
                <a:lnTo>
                  <a:pt x="1428" y="1008"/>
                </a:lnTo>
                <a:lnTo>
                  <a:pt x="1416" y="1014"/>
                </a:lnTo>
                <a:lnTo>
                  <a:pt x="1374" y="1056"/>
                </a:lnTo>
                <a:lnTo>
                  <a:pt x="1350" y="1086"/>
                </a:lnTo>
                <a:lnTo>
                  <a:pt x="1308" y="1128"/>
                </a:lnTo>
                <a:lnTo>
                  <a:pt x="1326" y="1152"/>
                </a:lnTo>
                <a:lnTo>
                  <a:pt x="1356" y="1182"/>
                </a:lnTo>
                <a:lnTo>
                  <a:pt x="1404" y="1158"/>
                </a:lnTo>
                <a:lnTo>
                  <a:pt x="1410" y="1158"/>
                </a:lnTo>
                <a:lnTo>
                  <a:pt x="1416" y="1164"/>
                </a:lnTo>
                <a:lnTo>
                  <a:pt x="1416" y="1170"/>
                </a:lnTo>
                <a:lnTo>
                  <a:pt x="1428" y="1176"/>
                </a:lnTo>
                <a:lnTo>
                  <a:pt x="1434" y="1188"/>
                </a:lnTo>
                <a:lnTo>
                  <a:pt x="1464" y="1194"/>
                </a:lnTo>
                <a:lnTo>
                  <a:pt x="1476" y="1206"/>
                </a:lnTo>
                <a:lnTo>
                  <a:pt x="1488" y="1218"/>
                </a:lnTo>
                <a:lnTo>
                  <a:pt x="1488" y="1230"/>
                </a:lnTo>
                <a:lnTo>
                  <a:pt x="1488" y="1248"/>
                </a:lnTo>
                <a:lnTo>
                  <a:pt x="1482" y="1260"/>
                </a:lnTo>
                <a:lnTo>
                  <a:pt x="1464" y="1278"/>
                </a:lnTo>
                <a:lnTo>
                  <a:pt x="1470" y="1290"/>
                </a:lnTo>
                <a:lnTo>
                  <a:pt x="1494" y="1332"/>
                </a:lnTo>
                <a:lnTo>
                  <a:pt x="1476" y="1356"/>
                </a:lnTo>
                <a:lnTo>
                  <a:pt x="1476" y="1386"/>
                </a:lnTo>
                <a:lnTo>
                  <a:pt x="1476" y="1392"/>
                </a:lnTo>
                <a:lnTo>
                  <a:pt x="1458" y="1422"/>
                </a:lnTo>
                <a:lnTo>
                  <a:pt x="1422" y="1428"/>
                </a:lnTo>
                <a:lnTo>
                  <a:pt x="1410" y="1422"/>
                </a:lnTo>
                <a:lnTo>
                  <a:pt x="1392" y="1416"/>
                </a:lnTo>
                <a:lnTo>
                  <a:pt x="1350" y="1458"/>
                </a:lnTo>
                <a:lnTo>
                  <a:pt x="1344" y="1464"/>
                </a:lnTo>
                <a:lnTo>
                  <a:pt x="1302" y="1500"/>
                </a:lnTo>
                <a:lnTo>
                  <a:pt x="1260" y="1482"/>
                </a:lnTo>
                <a:lnTo>
                  <a:pt x="1248" y="1488"/>
                </a:lnTo>
                <a:lnTo>
                  <a:pt x="1188" y="1518"/>
                </a:lnTo>
                <a:lnTo>
                  <a:pt x="1182" y="1530"/>
                </a:lnTo>
                <a:lnTo>
                  <a:pt x="1194" y="1548"/>
                </a:lnTo>
                <a:lnTo>
                  <a:pt x="1200" y="1560"/>
                </a:lnTo>
                <a:lnTo>
                  <a:pt x="1212" y="1572"/>
                </a:lnTo>
                <a:lnTo>
                  <a:pt x="1242" y="1590"/>
                </a:lnTo>
                <a:lnTo>
                  <a:pt x="1236" y="1608"/>
                </a:lnTo>
                <a:lnTo>
                  <a:pt x="1224" y="1626"/>
                </a:lnTo>
                <a:lnTo>
                  <a:pt x="1224" y="1632"/>
                </a:lnTo>
                <a:lnTo>
                  <a:pt x="1200" y="1644"/>
                </a:lnTo>
                <a:lnTo>
                  <a:pt x="1182" y="1656"/>
                </a:lnTo>
                <a:lnTo>
                  <a:pt x="1200" y="1674"/>
                </a:lnTo>
                <a:lnTo>
                  <a:pt x="1200" y="1680"/>
                </a:lnTo>
                <a:lnTo>
                  <a:pt x="1242" y="1734"/>
                </a:lnTo>
                <a:lnTo>
                  <a:pt x="1278" y="1800"/>
                </a:lnTo>
                <a:lnTo>
                  <a:pt x="1284" y="1812"/>
                </a:lnTo>
                <a:lnTo>
                  <a:pt x="1290" y="1830"/>
                </a:lnTo>
                <a:lnTo>
                  <a:pt x="1278" y="1818"/>
                </a:lnTo>
                <a:lnTo>
                  <a:pt x="1260" y="1836"/>
                </a:lnTo>
                <a:lnTo>
                  <a:pt x="1230" y="1812"/>
                </a:lnTo>
                <a:lnTo>
                  <a:pt x="1182" y="1854"/>
                </a:lnTo>
                <a:lnTo>
                  <a:pt x="1140" y="1860"/>
                </a:lnTo>
                <a:lnTo>
                  <a:pt x="1092" y="1866"/>
                </a:lnTo>
                <a:lnTo>
                  <a:pt x="1080" y="1878"/>
                </a:lnTo>
                <a:lnTo>
                  <a:pt x="1038" y="1920"/>
                </a:lnTo>
                <a:lnTo>
                  <a:pt x="1008" y="1932"/>
                </a:lnTo>
                <a:lnTo>
                  <a:pt x="1014" y="1962"/>
                </a:lnTo>
                <a:lnTo>
                  <a:pt x="1050" y="1980"/>
                </a:lnTo>
                <a:lnTo>
                  <a:pt x="1038" y="1986"/>
                </a:lnTo>
                <a:lnTo>
                  <a:pt x="1020" y="1998"/>
                </a:lnTo>
                <a:lnTo>
                  <a:pt x="990" y="2022"/>
                </a:lnTo>
                <a:lnTo>
                  <a:pt x="972" y="2034"/>
                </a:lnTo>
                <a:lnTo>
                  <a:pt x="966" y="2070"/>
                </a:lnTo>
                <a:lnTo>
                  <a:pt x="918" y="2118"/>
                </a:lnTo>
                <a:lnTo>
                  <a:pt x="906" y="2154"/>
                </a:lnTo>
                <a:lnTo>
                  <a:pt x="876" y="2160"/>
                </a:lnTo>
                <a:lnTo>
                  <a:pt x="864" y="2172"/>
                </a:lnTo>
                <a:lnTo>
                  <a:pt x="834" y="2142"/>
                </a:lnTo>
                <a:lnTo>
                  <a:pt x="744" y="2214"/>
                </a:lnTo>
                <a:lnTo>
                  <a:pt x="792" y="2256"/>
                </a:lnTo>
                <a:lnTo>
                  <a:pt x="798" y="2268"/>
                </a:lnTo>
                <a:lnTo>
                  <a:pt x="780" y="2274"/>
                </a:lnTo>
                <a:lnTo>
                  <a:pt x="768" y="2262"/>
                </a:lnTo>
                <a:lnTo>
                  <a:pt x="762" y="2256"/>
                </a:lnTo>
                <a:lnTo>
                  <a:pt x="588" y="2274"/>
                </a:lnTo>
                <a:lnTo>
                  <a:pt x="582" y="2274"/>
                </a:lnTo>
                <a:lnTo>
                  <a:pt x="576" y="2268"/>
                </a:lnTo>
                <a:lnTo>
                  <a:pt x="558" y="2274"/>
                </a:lnTo>
                <a:lnTo>
                  <a:pt x="552" y="2256"/>
                </a:lnTo>
                <a:lnTo>
                  <a:pt x="540" y="2232"/>
                </a:lnTo>
                <a:lnTo>
                  <a:pt x="534" y="2220"/>
                </a:lnTo>
                <a:lnTo>
                  <a:pt x="528" y="2208"/>
                </a:lnTo>
                <a:lnTo>
                  <a:pt x="522" y="2196"/>
                </a:lnTo>
                <a:lnTo>
                  <a:pt x="516" y="2196"/>
                </a:lnTo>
                <a:lnTo>
                  <a:pt x="498" y="2202"/>
                </a:lnTo>
                <a:lnTo>
                  <a:pt x="486" y="2220"/>
                </a:lnTo>
                <a:lnTo>
                  <a:pt x="474" y="2250"/>
                </a:lnTo>
                <a:lnTo>
                  <a:pt x="462" y="2268"/>
                </a:lnTo>
                <a:lnTo>
                  <a:pt x="450" y="2286"/>
                </a:lnTo>
                <a:lnTo>
                  <a:pt x="450" y="2292"/>
                </a:lnTo>
                <a:lnTo>
                  <a:pt x="456" y="2304"/>
                </a:lnTo>
                <a:lnTo>
                  <a:pt x="462" y="2310"/>
                </a:lnTo>
                <a:lnTo>
                  <a:pt x="474" y="2328"/>
                </a:lnTo>
                <a:lnTo>
                  <a:pt x="474" y="2334"/>
                </a:lnTo>
                <a:lnTo>
                  <a:pt x="486" y="2358"/>
                </a:lnTo>
                <a:lnTo>
                  <a:pt x="426" y="2370"/>
                </a:lnTo>
                <a:lnTo>
                  <a:pt x="408" y="2370"/>
                </a:lnTo>
                <a:lnTo>
                  <a:pt x="402" y="2376"/>
                </a:lnTo>
                <a:lnTo>
                  <a:pt x="402" y="2382"/>
                </a:lnTo>
                <a:lnTo>
                  <a:pt x="396" y="2388"/>
                </a:lnTo>
                <a:lnTo>
                  <a:pt x="384" y="2400"/>
                </a:lnTo>
                <a:lnTo>
                  <a:pt x="408" y="2448"/>
                </a:lnTo>
                <a:lnTo>
                  <a:pt x="390" y="2454"/>
                </a:lnTo>
                <a:lnTo>
                  <a:pt x="378" y="2442"/>
                </a:lnTo>
                <a:lnTo>
                  <a:pt x="378" y="2436"/>
                </a:lnTo>
                <a:lnTo>
                  <a:pt x="342" y="2454"/>
                </a:lnTo>
                <a:lnTo>
                  <a:pt x="306" y="2454"/>
                </a:lnTo>
                <a:lnTo>
                  <a:pt x="252" y="2430"/>
                </a:lnTo>
                <a:lnTo>
                  <a:pt x="222" y="2472"/>
                </a:lnTo>
                <a:lnTo>
                  <a:pt x="240" y="2490"/>
                </a:lnTo>
                <a:lnTo>
                  <a:pt x="234" y="2496"/>
                </a:lnTo>
                <a:lnTo>
                  <a:pt x="216" y="2502"/>
                </a:lnTo>
                <a:lnTo>
                  <a:pt x="210" y="2502"/>
                </a:lnTo>
                <a:lnTo>
                  <a:pt x="204" y="2496"/>
                </a:lnTo>
                <a:lnTo>
                  <a:pt x="204" y="2502"/>
                </a:lnTo>
                <a:lnTo>
                  <a:pt x="210" y="2514"/>
                </a:lnTo>
                <a:lnTo>
                  <a:pt x="156" y="2532"/>
                </a:lnTo>
                <a:lnTo>
                  <a:pt x="150" y="2520"/>
                </a:lnTo>
                <a:lnTo>
                  <a:pt x="144" y="2514"/>
                </a:lnTo>
                <a:lnTo>
                  <a:pt x="150" y="2502"/>
                </a:lnTo>
                <a:lnTo>
                  <a:pt x="144" y="2502"/>
                </a:lnTo>
                <a:lnTo>
                  <a:pt x="138" y="2496"/>
                </a:lnTo>
                <a:lnTo>
                  <a:pt x="138" y="2478"/>
                </a:lnTo>
                <a:lnTo>
                  <a:pt x="144" y="2472"/>
                </a:lnTo>
                <a:lnTo>
                  <a:pt x="156" y="2478"/>
                </a:lnTo>
                <a:lnTo>
                  <a:pt x="162" y="2478"/>
                </a:lnTo>
                <a:lnTo>
                  <a:pt x="162" y="2466"/>
                </a:lnTo>
                <a:lnTo>
                  <a:pt x="174" y="2466"/>
                </a:lnTo>
                <a:lnTo>
                  <a:pt x="186" y="2478"/>
                </a:lnTo>
                <a:lnTo>
                  <a:pt x="204" y="2466"/>
                </a:lnTo>
                <a:lnTo>
                  <a:pt x="180" y="2454"/>
                </a:lnTo>
                <a:lnTo>
                  <a:pt x="174" y="2448"/>
                </a:lnTo>
                <a:lnTo>
                  <a:pt x="156" y="2442"/>
                </a:lnTo>
                <a:lnTo>
                  <a:pt x="144" y="2430"/>
                </a:lnTo>
                <a:lnTo>
                  <a:pt x="150" y="2424"/>
                </a:lnTo>
                <a:lnTo>
                  <a:pt x="156" y="2418"/>
                </a:lnTo>
                <a:lnTo>
                  <a:pt x="168" y="2406"/>
                </a:lnTo>
                <a:lnTo>
                  <a:pt x="168" y="2394"/>
                </a:lnTo>
                <a:lnTo>
                  <a:pt x="162" y="2382"/>
                </a:lnTo>
                <a:lnTo>
                  <a:pt x="162" y="2370"/>
                </a:lnTo>
                <a:lnTo>
                  <a:pt x="174" y="2334"/>
                </a:lnTo>
                <a:lnTo>
                  <a:pt x="186" y="2304"/>
                </a:lnTo>
                <a:lnTo>
                  <a:pt x="168" y="2298"/>
                </a:lnTo>
                <a:lnTo>
                  <a:pt x="162" y="2286"/>
                </a:lnTo>
                <a:lnTo>
                  <a:pt x="156" y="2274"/>
                </a:lnTo>
                <a:lnTo>
                  <a:pt x="144" y="2268"/>
                </a:lnTo>
                <a:lnTo>
                  <a:pt x="132" y="2274"/>
                </a:lnTo>
                <a:lnTo>
                  <a:pt x="126" y="2286"/>
                </a:lnTo>
                <a:lnTo>
                  <a:pt x="114" y="2298"/>
                </a:lnTo>
                <a:lnTo>
                  <a:pt x="108" y="2304"/>
                </a:lnTo>
                <a:lnTo>
                  <a:pt x="84" y="2298"/>
                </a:lnTo>
                <a:lnTo>
                  <a:pt x="78" y="2304"/>
                </a:lnTo>
                <a:lnTo>
                  <a:pt x="72" y="2298"/>
                </a:lnTo>
                <a:lnTo>
                  <a:pt x="66" y="2304"/>
                </a:lnTo>
                <a:lnTo>
                  <a:pt x="54" y="2292"/>
                </a:lnTo>
                <a:lnTo>
                  <a:pt x="42" y="2292"/>
                </a:lnTo>
                <a:lnTo>
                  <a:pt x="36" y="2310"/>
                </a:lnTo>
                <a:lnTo>
                  <a:pt x="24" y="2316"/>
                </a:lnTo>
                <a:lnTo>
                  <a:pt x="6" y="2304"/>
                </a:lnTo>
                <a:lnTo>
                  <a:pt x="0" y="2280"/>
                </a:lnTo>
                <a:lnTo>
                  <a:pt x="6" y="2274"/>
                </a:lnTo>
                <a:lnTo>
                  <a:pt x="24" y="2250"/>
                </a:lnTo>
                <a:lnTo>
                  <a:pt x="24" y="2244"/>
                </a:lnTo>
                <a:lnTo>
                  <a:pt x="30" y="2202"/>
                </a:lnTo>
                <a:lnTo>
                  <a:pt x="30" y="2184"/>
                </a:lnTo>
                <a:lnTo>
                  <a:pt x="30" y="2178"/>
                </a:lnTo>
                <a:lnTo>
                  <a:pt x="36" y="2166"/>
                </a:lnTo>
                <a:lnTo>
                  <a:pt x="42" y="2166"/>
                </a:lnTo>
                <a:lnTo>
                  <a:pt x="48" y="2160"/>
                </a:lnTo>
                <a:lnTo>
                  <a:pt x="54" y="2160"/>
                </a:lnTo>
                <a:lnTo>
                  <a:pt x="66" y="2148"/>
                </a:lnTo>
                <a:lnTo>
                  <a:pt x="90" y="2142"/>
                </a:lnTo>
                <a:lnTo>
                  <a:pt x="90" y="2130"/>
                </a:lnTo>
                <a:lnTo>
                  <a:pt x="84" y="2130"/>
                </a:lnTo>
                <a:lnTo>
                  <a:pt x="84" y="2118"/>
                </a:lnTo>
                <a:lnTo>
                  <a:pt x="96" y="2088"/>
                </a:lnTo>
                <a:lnTo>
                  <a:pt x="114" y="2058"/>
                </a:lnTo>
                <a:lnTo>
                  <a:pt x="120" y="2040"/>
                </a:lnTo>
                <a:lnTo>
                  <a:pt x="120" y="2022"/>
                </a:lnTo>
                <a:lnTo>
                  <a:pt x="132" y="1992"/>
                </a:lnTo>
                <a:lnTo>
                  <a:pt x="144" y="1980"/>
                </a:lnTo>
                <a:lnTo>
                  <a:pt x="156" y="1974"/>
                </a:lnTo>
                <a:lnTo>
                  <a:pt x="156" y="1962"/>
                </a:lnTo>
                <a:lnTo>
                  <a:pt x="156" y="1950"/>
                </a:lnTo>
                <a:lnTo>
                  <a:pt x="150" y="1950"/>
                </a:lnTo>
                <a:lnTo>
                  <a:pt x="144" y="1950"/>
                </a:lnTo>
                <a:lnTo>
                  <a:pt x="138" y="1944"/>
                </a:lnTo>
                <a:lnTo>
                  <a:pt x="138" y="1938"/>
                </a:lnTo>
                <a:lnTo>
                  <a:pt x="144" y="1932"/>
                </a:lnTo>
                <a:lnTo>
                  <a:pt x="150" y="1920"/>
                </a:lnTo>
                <a:lnTo>
                  <a:pt x="132" y="1914"/>
                </a:lnTo>
                <a:lnTo>
                  <a:pt x="108" y="1950"/>
                </a:lnTo>
                <a:lnTo>
                  <a:pt x="102" y="1932"/>
                </a:lnTo>
                <a:lnTo>
                  <a:pt x="102" y="1926"/>
                </a:lnTo>
                <a:lnTo>
                  <a:pt x="108" y="1920"/>
                </a:lnTo>
                <a:lnTo>
                  <a:pt x="114" y="1908"/>
                </a:lnTo>
                <a:lnTo>
                  <a:pt x="114" y="1890"/>
                </a:lnTo>
                <a:lnTo>
                  <a:pt x="132" y="1884"/>
                </a:lnTo>
                <a:lnTo>
                  <a:pt x="138" y="1866"/>
                </a:lnTo>
                <a:lnTo>
                  <a:pt x="138" y="1848"/>
                </a:lnTo>
                <a:lnTo>
                  <a:pt x="126" y="1830"/>
                </a:lnTo>
                <a:lnTo>
                  <a:pt x="126" y="1818"/>
                </a:lnTo>
                <a:lnTo>
                  <a:pt x="132" y="1812"/>
                </a:lnTo>
                <a:lnTo>
                  <a:pt x="144" y="1812"/>
                </a:lnTo>
                <a:lnTo>
                  <a:pt x="150" y="1812"/>
                </a:lnTo>
                <a:lnTo>
                  <a:pt x="168" y="1818"/>
                </a:lnTo>
                <a:lnTo>
                  <a:pt x="180" y="1812"/>
                </a:lnTo>
                <a:lnTo>
                  <a:pt x="186" y="1800"/>
                </a:lnTo>
                <a:lnTo>
                  <a:pt x="180" y="1794"/>
                </a:lnTo>
                <a:lnTo>
                  <a:pt x="186" y="1776"/>
                </a:lnTo>
                <a:lnTo>
                  <a:pt x="192" y="1746"/>
                </a:lnTo>
                <a:lnTo>
                  <a:pt x="192" y="1734"/>
                </a:lnTo>
                <a:lnTo>
                  <a:pt x="186" y="1722"/>
                </a:lnTo>
                <a:lnTo>
                  <a:pt x="180" y="1704"/>
                </a:lnTo>
                <a:lnTo>
                  <a:pt x="174" y="1692"/>
                </a:lnTo>
                <a:lnTo>
                  <a:pt x="156" y="1674"/>
                </a:lnTo>
                <a:lnTo>
                  <a:pt x="132" y="1620"/>
                </a:lnTo>
                <a:lnTo>
                  <a:pt x="126" y="1596"/>
                </a:lnTo>
                <a:lnTo>
                  <a:pt x="120" y="1572"/>
                </a:lnTo>
                <a:lnTo>
                  <a:pt x="120" y="1554"/>
                </a:lnTo>
                <a:lnTo>
                  <a:pt x="120" y="1548"/>
                </a:lnTo>
                <a:lnTo>
                  <a:pt x="114" y="1542"/>
                </a:lnTo>
                <a:lnTo>
                  <a:pt x="114" y="1536"/>
                </a:lnTo>
                <a:lnTo>
                  <a:pt x="120" y="1524"/>
                </a:lnTo>
                <a:lnTo>
                  <a:pt x="132" y="1500"/>
                </a:lnTo>
                <a:lnTo>
                  <a:pt x="144" y="1470"/>
                </a:lnTo>
                <a:lnTo>
                  <a:pt x="144" y="1464"/>
                </a:lnTo>
                <a:lnTo>
                  <a:pt x="150" y="1446"/>
                </a:lnTo>
                <a:lnTo>
                  <a:pt x="150" y="1440"/>
                </a:lnTo>
                <a:lnTo>
                  <a:pt x="150" y="1434"/>
                </a:lnTo>
                <a:lnTo>
                  <a:pt x="156" y="1422"/>
                </a:lnTo>
                <a:lnTo>
                  <a:pt x="150" y="1392"/>
                </a:lnTo>
                <a:lnTo>
                  <a:pt x="144" y="1374"/>
                </a:lnTo>
                <a:lnTo>
                  <a:pt x="132" y="1356"/>
                </a:lnTo>
                <a:lnTo>
                  <a:pt x="120" y="1332"/>
                </a:lnTo>
                <a:lnTo>
                  <a:pt x="102" y="1308"/>
                </a:lnTo>
                <a:lnTo>
                  <a:pt x="96" y="1290"/>
                </a:lnTo>
                <a:lnTo>
                  <a:pt x="96" y="1272"/>
                </a:lnTo>
                <a:lnTo>
                  <a:pt x="96" y="1254"/>
                </a:lnTo>
                <a:lnTo>
                  <a:pt x="90" y="1242"/>
                </a:lnTo>
                <a:lnTo>
                  <a:pt x="90" y="1218"/>
                </a:lnTo>
                <a:lnTo>
                  <a:pt x="72" y="1200"/>
                </a:lnTo>
                <a:lnTo>
                  <a:pt x="60" y="1188"/>
                </a:lnTo>
                <a:lnTo>
                  <a:pt x="48" y="1170"/>
                </a:lnTo>
                <a:lnTo>
                  <a:pt x="36" y="1152"/>
                </a:lnTo>
                <a:lnTo>
                  <a:pt x="36" y="1140"/>
                </a:lnTo>
                <a:lnTo>
                  <a:pt x="42" y="1116"/>
                </a:lnTo>
                <a:lnTo>
                  <a:pt x="48" y="1092"/>
                </a:lnTo>
                <a:lnTo>
                  <a:pt x="54" y="1080"/>
                </a:lnTo>
                <a:lnTo>
                  <a:pt x="66" y="1068"/>
                </a:lnTo>
                <a:lnTo>
                  <a:pt x="84" y="1068"/>
                </a:lnTo>
                <a:lnTo>
                  <a:pt x="84" y="1062"/>
                </a:lnTo>
                <a:lnTo>
                  <a:pt x="84" y="1056"/>
                </a:lnTo>
                <a:lnTo>
                  <a:pt x="144" y="1026"/>
                </a:lnTo>
                <a:lnTo>
                  <a:pt x="144" y="1032"/>
                </a:lnTo>
                <a:lnTo>
                  <a:pt x="150" y="1044"/>
                </a:lnTo>
                <a:lnTo>
                  <a:pt x="162" y="1026"/>
                </a:lnTo>
                <a:lnTo>
                  <a:pt x="180" y="1002"/>
                </a:lnTo>
                <a:lnTo>
                  <a:pt x="186" y="984"/>
                </a:lnTo>
                <a:lnTo>
                  <a:pt x="198" y="972"/>
                </a:lnTo>
                <a:lnTo>
                  <a:pt x="204" y="960"/>
                </a:lnTo>
                <a:lnTo>
                  <a:pt x="204" y="948"/>
                </a:lnTo>
                <a:lnTo>
                  <a:pt x="210" y="930"/>
                </a:lnTo>
                <a:lnTo>
                  <a:pt x="204" y="918"/>
                </a:lnTo>
                <a:lnTo>
                  <a:pt x="192" y="900"/>
                </a:lnTo>
                <a:lnTo>
                  <a:pt x="186" y="888"/>
                </a:lnTo>
                <a:lnTo>
                  <a:pt x="180" y="888"/>
                </a:lnTo>
                <a:lnTo>
                  <a:pt x="174" y="870"/>
                </a:lnTo>
                <a:lnTo>
                  <a:pt x="168" y="858"/>
                </a:lnTo>
                <a:lnTo>
                  <a:pt x="162" y="828"/>
                </a:lnTo>
                <a:lnTo>
                  <a:pt x="150" y="798"/>
                </a:lnTo>
                <a:lnTo>
                  <a:pt x="138" y="780"/>
                </a:lnTo>
                <a:lnTo>
                  <a:pt x="126" y="762"/>
                </a:lnTo>
                <a:lnTo>
                  <a:pt x="114" y="744"/>
                </a:lnTo>
                <a:lnTo>
                  <a:pt x="90" y="732"/>
                </a:lnTo>
                <a:lnTo>
                  <a:pt x="84" y="726"/>
                </a:lnTo>
                <a:lnTo>
                  <a:pt x="72" y="720"/>
                </a:lnTo>
                <a:lnTo>
                  <a:pt x="72" y="708"/>
                </a:lnTo>
                <a:lnTo>
                  <a:pt x="66" y="690"/>
                </a:lnTo>
                <a:lnTo>
                  <a:pt x="60" y="672"/>
                </a:lnTo>
                <a:lnTo>
                  <a:pt x="60" y="654"/>
                </a:lnTo>
                <a:lnTo>
                  <a:pt x="60" y="630"/>
                </a:lnTo>
                <a:lnTo>
                  <a:pt x="60" y="612"/>
                </a:lnTo>
                <a:lnTo>
                  <a:pt x="60" y="600"/>
                </a:lnTo>
                <a:lnTo>
                  <a:pt x="66" y="588"/>
                </a:lnTo>
                <a:lnTo>
                  <a:pt x="78" y="558"/>
                </a:lnTo>
                <a:lnTo>
                  <a:pt x="84" y="540"/>
                </a:lnTo>
                <a:lnTo>
                  <a:pt x="84" y="534"/>
                </a:lnTo>
                <a:lnTo>
                  <a:pt x="90" y="516"/>
                </a:lnTo>
                <a:lnTo>
                  <a:pt x="96" y="486"/>
                </a:lnTo>
                <a:lnTo>
                  <a:pt x="96" y="474"/>
                </a:lnTo>
                <a:lnTo>
                  <a:pt x="90" y="462"/>
                </a:lnTo>
                <a:lnTo>
                  <a:pt x="84" y="450"/>
                </a:lnTo>
                <a:lnTo>
                  <a:pt x="66" y="420"/>
                </a:lnTo>
                <a:lnTo>
                  <a:pt x="60" y="396"/>
                </a:lnTo>
                <a:lnTo>
                  <a:pt x="60" y="378"/>
                </a:lnTo>
                <a:lnTo>
                  <a:pt x="60" y="354"/>
                </a:lnTo>
                <a:lnTo>
                  <a:pt x="60" y="348"/>
                </a:lnTo>
                <a:lnTo>
                  <a:pt x="66" y="336"/>
                </a:lnTo>
                <a:lnTo>
                  <a:pt x="72" y="306"/>
                </a:lnTo>
                <a:lnTo>
                  <a:pt x="66" y="294"/>
                </a:lnTo>
                <a:lnTo>
                  <a:pt x="66" y="282"/>
                </a:lnTo>
                <a:lnTo>
                  <a:pt x="78" y="282"/>
                </a:lnTo>
                <a:lnTo>
                  <a:pt x="84" y="270"/>
                </a:lnTo>
                <a:lnTo>
                  <a:pt x="84" y="258"/>
                </a:lnTo>
                <a:lnTo>
                  <a:pt x="60" y="246"/>
                </a:lnTo>
                <a:lnTo>
                  <a:pt x="48" y="216"/>
                </a:lnTo>
                <a:lnTo>
                  <a:pt x="72" y="216"/>
                </a:lnTo>
                <a:lnTo>
                  <a:pt x="90" y="216"/>
                </a:lnTo>
                <a:lnTo>
                  <a:pt x="102" y="216"/>
                </a:lnTo>
                <a:lnTo>
                  <a:pt x="114" y="216"/>
                </a:lnTo>
                <a:lnTo>
                  <a:pt x="126" y="216"/>
                </a:lnTo>
                <a:lnTo>
                  <a:pt x="144" y="240"/>
                </a:lnTo>
                <a:lnTo>
                  <a:pt x="168" y="240"/>
                </a:lnTo>
                <a:lnTo>
                  <a:pt x="198" y="240"/>
                </a:lnTo>
                <a:lnTo>
                  <a:pt x="210" y="252"/>
                </a:lnTo>
                <a:lnTo>
                  <a:pt x="222" y="246"/>
                </a:lnTo>
                <a:lnTo>
                  <a:pt x="228" y="240"/>
                </a:lnTo>
                <a:lnTo>
                  <a:pt x="234" y="234"/>
                </a:lnTo>
                <a:lnTo>
                  <a:pt x="252" y="228"/>
                </a:lnTo>
                <a:lnTo>
                  <a:pt x="264" y="210"/>
                </a:lnTo>
                <a:lnTo>
                  <a:pt x="276" y="192"/>
                </a:lnTo>
                <a:lnTo>
                  <a:pt x="300" y="174"/>
                </a:lnTo>
                <a:lnTo>
                  <a:pt x="294" y="144"/>
                </a:lnTo>
                <a:lnTo>
                  <a:pt x="300" y="138"/>
                </a:lnTo>
                <a:lnTo>
                  <a:pt x="318" y="120"/>
                </a:lnTo>
                <a:lnTo>
                  <a:pt x="372" y="108"/>
                </a:lnTo>
                <a:lnTo>
                  <a:pt x="384" y="120"/>
                </a:lnTo>
                <a:lnTo>
                  <a:pt x="390" y="108"/>
                </a:lnTo>
                <a:lnTo>
                  <a:pt x="396" y="96"/>
                </a:lnTo>
                <a:lnTo>
                  <a:pt x="402" y="96"/>
                </a:lnTo>
                <a:lnTo>
                  <a:pt x="408" y="72"/>
                </a:lnTo>
                <a:lnTo>
                  <a:pt x="414" y="60"/>
                </a:lnTo>
                <a:lnTo>
                  <a:pt x="408" y="42"/>
                </a:lnTo>
                <a:lnTo>
                  <a:pt x="426" y="36"/>
                </a:lnTo>
                <a:lnTo>
                  <a:pt x="438" y="24"/>
                </a:lnTo>
                <a:lnTo>
                  <a:pt x="462" y="24"/>
                </a:lnTo>
                <a:lnTo>
                  <a:pt x="486" y="18"/>
                </a:lnTo>
                <a:lnTo>
                  <a:pt x="498" y="36"/>
                </a:lnTo>
                <a:lnTo>
                  <a:pt x="516" y="54"/>
                </a:lnTo>
                <a:lnTo>
                  <a:pt x="540" y="66"/>
                </a:lnTo>
                <a:lnTo>
                  <a:pt x="558" y="66"/>
                </a:lnTo>
                <a:lnTo>
                  <a:pt x="564" y="66"/>
                </a:lnTo>
                <a:lnTo>
                  <a:pt x="552" y="108"/>
                </a:lnTo>
                <a:lnTo>
                  <a:pt x="552" y="120"/>
                </a:lnTo>
                <a:lnTo>
                  <a:pt x="534" y="132"/>
                </a:lnTo>
                <a:lnTo>
                  <a:pt x="528" y="150"/>
                </a:lnTo>
                <a:lnTo>
                  <a:pt x="522" y="174"/>
                </a:lnTo>
                <a:lnTo>
                  <a:pt x="522" y="180"/>
                </a:lnTo>
                <a:lnTo>
                  <a:pt x="528" y="210"/>
                </a:lnTo>
                <a:lnTo>
                  <a:pt x="546" y="222"/>
                </a:lnTo>
                <a:lnTo>
                  <a:pt x="564" y="240"/>
                </a:lnTo>
                <a:lnTo>
                  <a:pt x="570" y="258"/>
                </a:lnTo>
                <a:lnTo>
                  <a:pt x="582" y="234"/>
                </a:lnTo>
                <a:lnTo>
                  <a:pt x="588" y="228"/>
                </a:lnTo>
                <a:lnTo>
                  <a:pt x="600" y="216"/>
                </a:lnTo>
                <a:lnTo>
                  <a:pt x="606" y="216"/>
                </a:lnTo>
                <a:lnTo>
                  <a:pt x="624" y="216"/>
                </a:lnTo>
                <a:lnTo>
                  <a:pt x="642" y="204"/>
                </a:lnTo>
                <a:lnTo>
                  <a:pt x="648" y="204"/>
                </a:lnTo>
                <a:lnTo>
                  <a:pt x="654" y="192"/>
                </a:lnTo>
                <a:lnTo>
                  <a:pt x="666" y="168"/>
                </a:lnTo>
                <a:lnTo>
                  <a:pt x="684" y="138"/>
                </a:lnTo>
                <a:lnTo>
                  <a:pt x="690" y="138"/>
                </a:lnTo>
                <a:lnTo>
                  <a:pt x="696" y="144"/>
                </a:lnTo>
                <a:lnTo>
                  <a:pt x="714" y="150"/>
                </a:lnTo>
                <a:lnTo>
                  <a:pt x="732" y="144"/>
                </a:lnTo>
                <a:lnTo>
                  <a:pt x="738" y="156"/>
                </a:lnTo>
                <a:lnTo>
                  <a:pt x="768" y="150"/>
                </a:lnTo>
                <a:lnTo>
                  <a:pt x="774" y="132"/>
                </a:lnTo>
                <a:lnTo>
                  <a:pt x="780" y="114"/>
                </a:lnTo>
                <a:lnTo>
                  <a:pt x="780" y="108"/>
                </a:lnTo>
                <a:lnTo>
                  <a:pt x="774" y="96"/>
                </a:lnTo>
                <a:lnTo>
                  <a:pt x="768" y="84"/>
                </a:lnTo>
                <a:lnTo>
                  <a:pt x="768" y="66"/>
                </a:lnTo>
                <a:lnTo>
                  <a:pt x="774" y="42"/>
                </a:lnTo>
                <a:lnTo>
                  <a:pt x="780" y="36"/>
                </a:lnTo>
                <a:lnTo>
                  <a:pt x="780" y="30"/>
                </a:lnTo>
                <a:lnTo>
                  <a:pt x="798" y="36"/>
                </a:lnTo>
                <a:lnTo>
                  <a:pt x="822" y="36"/>
                </a:lnTo>
                <a:lnTo>
                  <a:pt x="846" y="36"/>
                </a:lnTo>
                <a:lnTo>
                  <a:pt x="870" y="24"/>
                </a:lnTo>
                <a:lnTo>
                  <a:pt x="882" y="0"/>
                </a:lnTo>
                <a:lnTo>
                  <a:pt x="906" y="12"/>
                </a:lnTo>
                <a:lnTo>
                  <a:pt x="918" y="30"/>
                </a:lnTo>
                <a:lnTo>
                  <a:pt x="930" y="54"/>
                </a:lnTo>
                <a:lnTo>
                  <a:pt x="936" y="66"/>
                </a:lnTo>
                <a:lnTo>
                  <a:pt x="936" y="90"/>
                </a:lnTo>
                <a:lnTo>
                  <a:pt x="936" y="114"/>
                </a:lnTo>
                <a:lnTo>
                  <a:pt x="942" y="132"/>
                </a:lnTo>
                <a:lnTo>
                  <a:pt x="960" y="162"/>
                </a:lnTo>
                <a:lnTo>
                  <a:pt x="978" y="174"/>
                </a:lnTo>
                <a:lnTo>
                  <a:pt x="996" y="186"/>
                </a:lnTo>
                <a:lnTo>
                  <a:pt x="1032" y="210"/>
                </a:lnTo>
                <a:lnTo>
                  <a:pt x="1044" y="216"/>
                </a:lnTo>
                <a:lnTo>
                  <a:pt x="1050" y="216"/>
                </a:lnTo>
                <a:lnTo>
                  <a:pt x="1086" y="234"/>
                </a:lnTo>
                <a:lnTo>
                  <a:pt x="1104" y="240"/>
                </a:lnTo>
                <a:lnTo>
                  <a:pt x="1122" y="246"/>
                </a:lnTo>
                <a:lnTo>
                  <a:pt x="1134" y="252"/>
                </a:lnTo>
                <a:lnTo>
                  <a:pt x="1158" y="264"/>
                </a:lnTo>
                <a:lnTo>
                  <a:pt x="1182" y="294"/>
                </a:lnTo>
                <a:lnTo>
                  <a:pt x="1218" y="288"/>
                </a:lnTo>
                <a:lnTo>
                  <a:pt x="1248" y="294"/>
                </a:lnTo>
                <a:lnTo>
                  <a:pt x="1260" y="300"/>
                </a:lnTo>
                <a:lnTo>
                  <a:pt x="1272" y="300"/>
                </a:lnTo>
                <a:lnTo>
                  <a:pt x="1284" y="288"/>
                </a:lnTo>
                <a:lnTo>
                  <a:pt x="1302" y="192"/>
                </a:lnTo>
                <a:lnTo>
                  <a:pt x="1308" y="192"/>
                </a:lnTo>
                <a:lnTo>
                  <a:pt x="1320" y="204"/>
                </a:lnTo>
                <a:lnTo>
                  <a:pt x="1332" y="204"/>
                </a:lnTo>
                <a:lnTo>
                  <a:pt x="1350" y="210"/>
                </a:lnTo>
                <a:lnTo>
                  <a:pt x="1374" y="228"/>
                </a:lnTo>
                <a:lnTo>
                  <a:pt x="1392" y="228"/>
                </a:lnTo>
                <a:lnTo>
                  <a:pt x="1410" y="234"/>
                </a:lnTo>
                <a:lnTo>
                  <a:pt x="1416" y="234"/>
                </a:lnTo>
                <a:lnTo>
                  <a:pt x="1428" y="234"/>
                </a:lnTo>
                <a:lnTo>
                  <a:pt x="1452" y="246"/>
                </a:lnTo>
                <a:lnTo>
                  <a:pt x="1452" y="240"/>
                </a:lnTo>
                <a:lnTo>
                  <a:pt x="1458" y="210"/>
                </a:lnTo>
                <a:lnTo>
                  <a:pt x="1464" y="198"/>
                </a:lnTo>
                <a:lnTo>
                  <a:pt x="1464" y="192"/>
                </a:lnTo>
                <a:lnTo>
                  <a:pt x="1470" y="180"/>
                </a:lnTo>
                <a:lnTo>
                  <a:pt x="1482" y="174"/>
                </a:lnTo>
                <a:lnTo>
                  <a:pt x="1488" y="162"/>
                </a:lnTo>
                <a:lnTo>
                  <a:pt x="1500" y="156"/>
                </a:lnTo>
                <a:lnTo>
                  <a:pt x="1512" y="144"/>
                </a:lnTo>
                <a:lnTo>
                  <a:pt x="1560" y="114"/>
                </a:lnTo>
                <a:lnTo>
                  <a:pt x="1578" y="114"/>
                </a:lnTo>
                <a:lnTo>
                  <a:pt x="1590" y="120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78" name="Freeform 22"/>
          <p:cNvSpPr>
            <a:spLocks/>
          </p:cNvSpPr>
          <p:nvPr/>
        </p:nvSpPr>
        <p:spPr bwMode="gray">
          <a:xfrm>
            <a:off x="4849813" y="4360863"/>
            <a:ext cx="1479550" cy="1409700"/>
          </a:xfrm>
          <a:custGeom>
            <a:avLst/>
            <a:gdLst>
              <a:gd name="T0" fmla="*/ 109541 w 1536"/>
              <a:gd name="T1" fmla="*/ 82439 h 1464"/>
              <a:gd name="T2" fmla="*/ 107906 w 1536"/>
              <a:gd name="T3" fmla="*/ 85704 h 1464"/>
              <a:gd name="T4" fmla="*/ 106271 w 1536"/>
              <a:gd name="T5" fmla="*/ 89785 h 1464"/>
              <a:gd name="T6" fmla="*/ 103819 w 1536"/>
              <a:gd name="T7" fmla="*/ 91417 h 1464"/>
              <a:gd name="T8" fmla="*/ 101366 w 1536"/>
              <a:gd name="T9" fmla="*/ 94682 h 1464"/>
              <a:gd name="T10" fmla="*/ 98097 w 1536"/>
              <a:gd name="T11" fmla="*/ 93050 h 1464"/>
              <a:gd name="T12" fmla="*/ 91557 w 1536"/>
              <a:gd name="T13" fmla="*/ 89785 h 1464"/>
              <a:gd name="T14" fmla="*/ 85834 w 1536"/>
              <a:gd name="T15" fmla="*/ 88152 h 1464"/>
              <a:gd name="T16" fmla="*/ 85834 w 1536"/>
              <a:gd name="T17" fmla="*/ 90601 h 1464"/>
              <a:gd name="T18" fmla="*/ 80112 w 1536"/>
              <a:gd name="T19" fmla="*/ 96315 h 1464"/>
              <a:gd name="T20" fmla="*/ 75207 w 1536"/>
              <a:gd name="T21" fmla="*/ 94682 h 1464"/>
              <a:gd name="T22" fmla="*/ 71937 w 1536"/>
              <a:gd name="T23" fmla="*/ 93050 h 1464"/>
              <a:gd name="T24" fmla="*/ 67850 w 1536"/>
              <a:gd name="T25" fmla="*/ 96315 h 1464"/>
              <a:gd name="T26" fmla="*/ 63763 w 1536"/>
              <a:gd name="T27" fmla="*/ 101212 h 1464"/>
              <a:gd name="T28" fmla="*/ 58858 w 1536"/>
              <a:gd name="T29" fmla="*/ 100396 h 1464"/>
              <a:gd name="T30" fmla="*/ 51501 w 1536"/>
              <a:gd name="T31" fmla="*/ 99580 h 1464"/>
              <a:gd name="T32" fmla="*/ 45778 w 1536"/>
              <a:gd name="T33" fmla="*/ 96315 h 1464"/>
              <a:gd name="T34" fmla="*/ 38421 w 1536"/>
              <a:gd name="T35" fmla="*/ 96315 h 1464"/>
              <a:gd name="T36" fmla="*/ 30246 w 1536"/>
              <a:gd name="T37" fmla="*/ 97947 h 1464"/>
              <a:gd name="T38" fmla="*/ 20437 w 1536"/>
              <a:gd name="T39" fmla="*/ 104477 h 1464"/>
              <a:gd name="T40" fmla="*/ 17984 w 1536"/>
              <a:gd name="T41" fmla="*/ 106109 h 1464"/>
              <a:gd name="T42" fmla="*/ 7357 w 1536"/>
              <a:gd name="T43" fmla="*/ 98763 h 1464"/>
              <a:gd name="T44" fmla="*/ 817 w 1536"/>
              <a:gd name="T45" fmla="*/ 87336 h 1464"/>
              <a:gd name="T46" fmla="*/ 2452 w 1536"/>
              <a:gd name="T47" fmla="*/ 82439 h 1464"/>
              <a:gd name="T48" fmla="*/ 4905 w 1536"/>
              <a:gd name="T49" fmla="*/ 75909 h 1464"/>
              <a:gd name="T50" fmla="*/ 15532 w 1536"/>
              <a:gd name="T51" fmla="*/ 71012 h 1464"/>
              <a:gd name="T52" fmla="*/ 21254 w 1536"/>
              <a:gd name="T53" fmla="*/ 68563 h 1464"/>
              <a:gd name="T54" fmla="*/ 22072 w 1536"/>
              <a:gd name="T55" fmla="*/ 59585 h 1464"/>
              <a:gd name="T56" fmla="*/ 20437 w 1536"/>
              <a:gd name="T57" fmla="*/ 54687 h 1464"/>
              <a:gd name="T58" fmla="*/ 16349 w 1536"/>
              <a:gd name="T59" fmla="*/ 52238 h 1464"/>
              <a:gd name="T60" fmla="*/ 12262 w 1536"/>
              <a:gd name="T61" fmla="*/ 46525 h 1464"/>
              <a:gd name="T62" fmla="*/ 22889 w 1536"/>
              <a:gd name="T63" fmla="*/ 44076 h 1464"/>
              <a:gd name="T64" fmla="*/ 26977 w 1536"/>
              <a:gd name="T65" fmla="*/ 37546 h 1464"/>
              <a:gd name="T66" fmla="*/ 24524 w 1536"/>
              <a:gd name="T67" fmla="*/ 31017 h 1464"/>
              <a:gd name="T68" fmla="*/ 26159 w 1536"/>
              <a:gd name="T69" fmla="*/ 28568 h 1464"/>
              <a:gd name="T70" fmla="*/ 27794 w 1536"/>
              <a:gd name="T71" fmla="*/ 23671 h 1464"/>
              <a:gd name="T72" fmla="*/ 25342 w 1536"/>
              <a:gd name="T73" fmla="*/ 19589 h 1464"/>
              <a:gd name="T74" fmla="*/ 31064 w 1536"/>
              <a:gd name="T75" fmla="*/ 8162 h 1464"/>
              <a:gd name="T76" fmla="*/ 34334 w 1536"/>
              <a:gd name="T77" fmla="*/ 12243 h 1464"/>
              <a:gd name="T78" fmla="*/ 36786 w 1536"/>
              <a:gd name="T79" fmla="*/ 10611 h 1464"/>
              <a:gd name="T80" fmla="*/ 44143 w 1536"/>
              <a:gd name="T81" fmla="*/ 12243 h 1464"/>
              <a:gd name="T82" fmla="*/ 44143 w 1536"/>
              <a:gd name="T83" fmla="*/ 8978 h 1464"/>
              <a:gd name="T84" fmla="*/ 47413 w 1536"/>
              <a:gd name="T85" fmla="*/ 7346 h 1464"/>
              <a:gd name="T86" fmla="*/ 49048 w 1536"/>
              <a:gd name="T87" fmla="*/ 5714 h 1464"/>
              <a:gd name="T88" fmla="*/ 53953 w 1536"/>
              <a:gd name="T89" fmla="*/ 8162 h 1464"/>
              <a:gd name="T90" fmla="*/ 58858 w 1536"/>
              <a:gd name="T91" fmla="*/ 8978 h 1464"/>
              <a:gd name="T92" fmla="*/ 62945 w 1536"/>
              <a:gd name="T93" fmla="*/ 4897 h 1464"/>
              <a:gd name="T94" fmla="*/ 68668 w 1536"/>
              <a:gd name="T95" fmla="*/ 0 h 1464"/>
              <a:gd name="T96" fmla="*/ 77660 w 1536"/>
              <a:gd name="T97" fmla="*/ 5714 h 1464"/>
              <a:gd name="T98" fmla="*/ 84200 w 1536"/>
              <a:gd name="T99" fmla="*/ 9795 h 1464"/>
              <a:gd name="T100" fmla="*/ 84200 w 1536"/>
              <a:gd name="T101" fmla="*/ 17141 h 1464"/>
              <a:gd name="T102" fmla="*/ 84200 w 1536"/>
              <a:gd name="T103" fmla="*/ 23671 h 1464"/>
              <a:gd name="T104" fmla="*/ 87469 w 1536"/>
              <a:gd name="T105" fmla="*/ 33465 h 1464"/>
              <a:gd name="T106" fmla="*/ 91557 w 1536"/>
              <a:gd name="T107" fmla="*/ 36730 h 1464"/>
              <a:gd name="T108" fmla="*/ 89922 w 1536"/>
              <a:gd name="T109" fmla="*/ 40811 h 1464"/>
              <a:gd name="T110" fmla="*/ 90739 w 1536"/>
              <a:gd name="T111" fmla="*/ 47341 h 1464"/>
              <a:gd name="T112" fmla="*/ 89104 w 1536"/>
              <a:gd name="T113" fmla="*/ 56320 h 1464"/>
              <a:gd name="T114" fmla="*/ 87469 w 1536"/>
              <a:gd name="T115" fmla="*/ 59585 h 1464"/>
              <a:gd name="T116" fmla="*/ 91557 w 1536"/>
              <a:gd name="T117" fmla="*/ 62849 h 1464"/>
              <a:gd name="T118" fmla="*/ 94827 w 1536"/>
              <a:gd name="T119" fmla="*/ 63666 h 1464"/>
              <a:gd name="T120" fmla="*/ 102184 w 1536"/>
              <a:gd name="T121" fmla="*/ 58768 h 1464"/>
              <a:gd name="T122" fmla="*/ 107089 w 1536"/>
              <a:gd name="T123" fmla="*/ 57952 h 1464"/>
              <a:gd name="T124" fmla="*/ 108724 w 1536"/>
              <a:gd name="T125" fmla="*/ 65298 h 146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536" h="1464">
                <a:moveTo>
                  <a:pt x="1536" y="996"/>
                </a:moveTo>
                <a:lnTo>
                  <a:pt x="1506" y="1050"/>
                </a:lnTo>
                <a:lnTo>
                  <a:pt x="1536" y="1134"/>
                </a:lnTo>
                <a:lnTo>
                  <a:pt x="1536" y="1140"/>
                </a:lnTo>
                <a:lnTo>
                  <a:pt x="1506" y="1140"/>
                </a:lnTo>
                <a:lnTo>
                  <a:pt x="1488" y="1140"/>
                </a:lnTo>
                <a:lnTo>
                  <a:pt x="1488" y="1158"/>
                </a:lnTo>
                <a:lnTo>
                  <a:pt x="1506" y="1164"/>
                </a:lnTo>
                <a:lnTo>
                  <a:pt x="1494" y="1176"/>
                </a:lnTo>
                <a:lnTo>
                  <a:pt x="1488" y="1182"/>
                </a:lnTo>
                <a:lnTo>
                  <a:pt x="1488" y="1212"/>
                </a:lnTo>
                <a:lnTo>
                  <a:pt x="1476" y="1224"/>
                </a:lnTo>
                <a:lnTo>
                  <a:pt x="1476" y="1230"/>
                </a:lnTo>
                <a:lnTo>
                  <a:pt x="1464" y="1236"/>
                </a:lnTo>
                <a:lnTo>
                  <a:pt x="1458" y="1242"/>
                </a:lnTo>
                <a:lnTo>
                  <a:pt x="1458" y="1254"/>
                </a:lnTo>
                <a:lnTo>
                  <a:pt x="1458" y="1260"/>
                </a:lnTo>
                <a:lnTo>
                  <a:pt x="1446" y="1272"/>
                </a:lnTo>
                <a:lnTo>
                  <a:pt x="1440" y="1266"/>
                </a:lnTo>
                <a:lnTo>
                  <a:pt x="1428" y="1260"/>
                </a:lnTo>
                <a:lnTo>
                  <a:pt x="1416" y="1266"/>
                </a:lnTo>
                <a:lnTo>
                  <a:pt x="1410" y="1266"/>
                </a:lnTo>
                <a:lnTo>
                  <a:pt x="1404" y="1278"/>
                </a:lnTo>
                <a:lnTo>
                  <a:pt x="1398" y="1290"/>
                </a:lnTo>
                <a:lnTo>
                  <a:pt x="1398" y="1308"/>
                </a:lnTo>
                <a:lnTo>
                  <a:pt x="1392" y="1314"/>
                </a:lnTo>
                <a:lnTo>
                  <a:pt x="1380" y="1314"/>
                </a:lnTo>
                <a:lnTo>
                  <a:pt x="1368" y="1308"/>
                </a:lnTo>
                <a:lnTo>
                  <a:pt x="1362" y="1296"/>
                </a:lnTo>
                <a:lnTo>
                  <a:pt x="1350" y="1284"/>
                </a:lnTo>
                <a:lnTo>
                  <a:pt x="1332" y="1278"/>
                </a:lnTo>
                <a:lnTo>
                  <a:pt x="1320" y="1272"/>
                </a:lnTo>
                <a:lnTo>
                  <a:pt x="1302" y="1266"/>
                </a:lnTo>
                <a:lnTo>
                  <a:pt x="1290" y="1254"/>
                </a:lnTo>
                <a:lnTo>
                  <a:pt x="1266" y="1242"/>
                </a:lnTo>
                <a:lnTo>
                  <a:pt x="1248" y="1230"/>
                </a:lnTo>
                <a:lnTo>
                  <a:pt x="1230" y="1230"/>
                </a:lnTo>
                <a:lnTo>
                  <a:pt x="1212" y="1230"/>
                </a:lnTo>
                <a:lnTo>
                  <a:pt x="1194" y="1224"/>
                </a:lnTo>
                <a:lnTo>
                  <a:pt x="1182" y="1218"/>
                </a:lnTo>
                <a:lnTo>
                  <a:pt x="1176" y="1224"/>
                </a:lnTo>
                <a:lnTo>
                  <a:pt x="1182" y="1230"/>
                </a:lnTo>
                <a:lnTo>
                  <a:pt x="1176" y="1236"/>
                </a:lnTo>
                <a:lnTo>
                  <a:pt x="1182" y="1248"/>
                </a:lnTo>
                <a:lnTo>
                  <a:pt x="1182" y="1254"/>
                </a:lnTo>
                <a:lnTo>
                  <a:pt x="1182" y="1260"/>
                </a:lnTo>
                <a:lnTo>
                  <a:pt x="1158" y="1296"/>
                </a:lnTo>
                <a:lnTo>
                  <a:pt x="1140" y="1320"/>
                </a:lnTo>
                <a:lnTo>
                  <a:pt x="1110" y="1320"/>
                </a:lnTo>
                <a:lnTo>
                  <a:pt x="1098" y="1326"/>
                </a:lnTo>
                <a:lnTo>
                  <a:pt x="1074" y="1314"/>
                </a:lnTo>
                <a:lnTo>
                  <a:pt x="1062" y="1308"/>
                </a:lnTo>
                <a:lnTo>
                  <a:pt x="1056" y="1302"/>
                </a:lnTo>
                <a:lnTo>
                  <a:pt x="1050" y="1314"/>
                </a:lnTo>
                <a:lnTo>
                  <a:pt x="1032" y="1308"/>
                </a:lnTo>
                <a:lnTo>
                  <a:pt x="1032" y="1302"/>
                </a:lnTo>
                <a:lnTo>
                  <a:pt x="1026" y="1308"/>
                </a:lnTo>
                <a:lnTo>
                  <a:pt x="1014" y="1320"/>
                </a:lnTo>
                <a:lnTo>
                  <a:pt x="1008" y="1308"/>
                </a:lnTo>
                <a:lnTo>
                  <a:pt x="990" y="1290"/>
                </a:lnTo>
                <a:lnTo>
                  <a:pt x="948" y="1332"/>
                </a:lnTo>
                <a:lnTo>
                  <a:pt x="942" y="1338"/>
                </a:lnTo>
                <a:lnTo>
                  <a:pt x="936" y="1332"/>
                </a:lnTo>
                <a:lnTo>
                  <a:pt x="936" y="1326"/>
                </a:lnTo>
                <a:lnTo>
                  <a:pt x="930" y="1332"/>
                </a:lnTo>
                <a:lnTo>
                  <a:pt x="918" y="1338"/>
                </a:lnTo>
                <a:lnTo>
                  <a:pt x="894" y="1368"/>
                </a:lnTo>
                <a:lnTo>
                  <a:pt x="888" y="1380"/>
                </a:lnTo>
                <a:lnTo>
                  <a:pt x="888" y="1392"/>
                </a:lnTo>
                <a:lnTo>
                  <a:pt x="882" y="1392"/>
                </a:lnTo>
                <a:lnTo>
                  <a:pt x="882" y="1398"/>
                </a:lnTo>
                <a:lnTo>
                  <a:pt x="846" y="1404"/>
                </a:lnTo>
                <a:lnTo>
                  <a:pt x="846" y="1386"/>
                </a:lnTo>
                <a:lnTo>
                  <a:pt x="828" y="1386"/>
                </a:lnTo>
                <a:lnTo>
                  <a:pt x="816" y="1386"/>
                </a:lnTo>
                <a:lnTo>
                  <a:pt x="804" y="1392"/>
                </a:lnTo>
                <a:lnTo>
                  <a:pt x="792" y="1356"/>
                </a:lnTo>
                <a:lnTo>
                  <a:pt x="774" y="1350"/>
                </a:lnTo>
                <a:lnTo>
                  <a:pt x="756" y="1338"/>
                </a:lnTo>
                <a:lnTo>
                  <a:pt x="708" y="1380"/>
                </a:lnTo>
                <a:lnTo>
                  <a:pt x="696" y="1374"/>
                </a:lnTo>
                <a:lnTo>
                  <a:pt x="666" y="1368"/>
                </a:lnTo>
                <a:lnTo>
                  <a:pt x="660" y="1356"/>
                </a:lnTo>
                <a:lnTo>
                  <a:pt x="648" y="1332"/>
                </a:lnTo>
                <a:lnTo>
                  <a:pt x="630" y="1326"/>
                </a:lnTo>
                <a:lnTo>
                  <a:pt x="612" y="1380"/>
                </a:lnTo>
                <a:lnTo>
                  <a:pt x="588" y="1374"/>
                </a:lnTo>
                <a:lnTo>
                  <a:pt x="558" y="1392"/>
                </a:lnTo>
                <a:lnTo>
                  <a:pt x="534" y="1344"/>
                </a:lnTo>
                <a:lnTo>
                  <a:pt x="528" y="1332"/>
                </a:lnTo>
                <a:lnTo>
                  <a:pt x="516" y="1332"/>
                </a:lnTo>
                <a:lnTo>
                  <a:pt x="504" y="1332"/>
                </a:lnTo>
                <a:lnTo>
                  <a:pt x="486" y="1332"/>
                </a:lnTo>
                <a:lnTo>
                  <a:pt x="444" y="1338"/>
                </a:lnTo>
                <a:lnTo>
                  <a:pt x="414" y="1356"/>
                </a:lnTo>
                <a:lnTo>
                  <a:pt x="360" y="1398"/>
                </a:lnTo>
                <a:lnTo>
                  <a:pt x="336" y="1410"/>
                </a:lnTo>
                <a:lnTo>
                  <a:pt x="312" y="1416"/>
                </a:lnTo>
                <a:lnTo>
                  <a:pt x="288" y="1434"/>
                </a:lnTo>
                <a:lnTo>
                  <a:pt x="282" y="1446"/>
                </a:lnTo>
                <a:lnTo>
                  <a:pt x="276" y="1452"/>
                </a:lnTo>
                <a:lnTo>
                  <a:pt x="270" y="1452"/>
                </a:lnTo>
                <a:lnTo>
                  <a:pt x="264" y="1458"/>
                </a:lnTo>
                <a:lnTo>
                  <a:pt x="258" y="1464"/>
                </a:lnTo>
                <a:lnTo>
                  <a:pt x="252" y="1464"/>
                </a:lnTo>
                <a:lnTo>
                  <a:pt x="210" y="1446"/>
                </a:lnTo>
                <a:lnTo>
                  <a:pt x="168" y="1440"/>
                </a:lnTo>
                <a:lnTo>
                  <a:pt x="108" y="1392"/>
                </a:lnTo>
                <a:lnTo>
                  <a:pt x="102" y="1374"/>
                </a:lnTo>
                <a:lnTo>
                  <a:pt x="96" y="1362"/>
                </a:lnTo>
                <a:lnTo>
                  <a:pt x="60" y="1296"/>
                </a:lnTo>
                <a:lnTo>
                  <a:pt x="18" y="1242"/>
                </a:lnTo>
                <a:lnTo>
                  <a:pt x="18" y="1236"/>
                </a:lnTo>
                <a:lnTo>
                  <a:pt x="0" y="1218"/>
                </a:lnTo>
                <a:lnTo>
                  <a:pt x="18" y="1206"/>
                </a:lnTo>
                <a:lnTo>
                  <a:pt x="42" y="1194"/>
                </a:lnTo>
                <a:lnTo>
                  <a:pt x="42" y="1188"/>
                </a:lnTo>
                <a:lnTo>
                  <a:pt x="54" y="1170"/>
                </a:lnTo>
                <a:lnTo>
                  <a:pt x="60" y="1152"/>
                </a:lnTo>
                <a:lnTo>
                  <a:pt x="30" y="1134"/>
                </a:lnTo>
                <a:lnTo>
                  <a:pt x="18" y="1122"/>
                </a:lnTo>
                <a:lnTo>
                  <a:pt x="12" y="1110"/>
                </a:lnTo>
                <a:lnTo>
                  <a:pt x="0" y="1092"/>
                </a:lnTo>
                <a:lnTo>
                  <a:pt x="6" y="1080"/>
                </a:lnTo>
                <a:lnTo>
                  <a:pt x="66" y="1050"/>
                </a:lnTo>
                <a:lnTo>
                  <a:pt x="78" y="1044"/>
                </a:lnTo>
                <a:lnTo>
                  <a:pt x="120" y="1062"/>
                </a:lnTo>
                <a:lnTo>
                  <a:pt x="162" y="1026"/>
                </a:lnTo>
                <a:lnTo>
                  <a:pt x="168" y="1020"/>
                </a:lnTo>
                <a:lnTo>
                  <a:pt x="210" y="978"/>
                </a:lnTo>
                <a:lnTo>
                  <a:pt x="228" y="984"/>
                </a:lnTo>
                <a:lnTo>
                  <a:pt x="240" y="990"/>
                </a:lnTo>
                <a:lnTo>
                  <a:pt x="276" y="984"/>
                </a:lnTo>
                <a:lnTo>
                  <a:pt x="294" y="954"/>
                </a:lnTo>
                <a:lnTo>
                  <a:pt x="294" y="948"/>
                </a:lnTo>
                <a:lnTo>
                  <a:pt x="294" y="918"/>
                </a:lnTo>
                <a:lnTo>
                  <a:pt x="312" y="894"/>
                </a:lnTo>
                <a:lnTo>
                  <a:pt x="288" y="852"/>
                </a:lnTo>
                <a:lnTo>
                  <a:pt x="282" y="840"/>
                </a:lnTo>
                <a:lnTo>
                  <a:pt x="300" y="822"/>
                </a:lnTo>
                <a:lnTo>
                  <a:pt x="306" y="810"/>
                </a:lnTo>
                <a:lnTo>
                  <a:pt x="306" y="792"/>
                </a:lnTo>
                <a:lnTo>
                  <a:pt x="306" y="780"/>
                </a:lnTo>
                <a:lnTo>
                  <a:pt x="294" y="768"/>
                </a:lnTo>
                <a:lnTo>
                  <a:pt x="282" y="756"/>
                </a:lnTo>
                <a:lnTo>
                  <a:pt x="252" y="750"/>
                </a:lnTo>
                <a:lnTo>
                  <a:pt x="246" y="738"/>
                </a:lnTo>
                <a:lnTo>
                  <a:pt x="234" y="732"/>
                </a:lnTo>
                <a:lnTo>
                  <a:pt x="234" y="726"/>
                </a:lnTo>
                <a:lnTo>
                  <a:pt x="228" y="720"/>
                </a:lnTo>
                <a:lnTo>
                  <a:pt x="222" y="720"/>
                </a:lnTo>
                <a:lnTo>
                  <a:pt x="174" y="744"/>
                </a:lnTo>
                <a:lnTo>
                  <a:pt x="144" y="714"/>
                </a:lnTo>
                <a:lnTo>
                  <a:pt x="126" y="690"/>
                </a:lnTo>
                <a:lnTo>
                  <a:pt x="168" y="648"/>
                </a:lnTo>
                <a:lnTo>
                  <a:pt x="192" y="618"/>
                </a:lnTo>
                <a:lnTo>
                  <a:pt x="234" y="576"/>
                </a:lnTo>
                <a:lnTo>
                  <a:pt x="246" y="570"/>
                </a:lnTo>
                <a:lnTo>
                  <a:pt x="270" y="582"/>
                </a:lnTo>
                <a:lnTo>
                  <a:pt x="318" y="612"/>
                </a:lnTo>
                <a:lnTo>
                  <a:pt x="342" y="624"/>
                </a:lnTo>
                <a:lnTo>
                  <a:pt x="354" y="606"/>
                </a:lnTo>
                <a:lnTo>
                  <a:pt x="372" y="576"/>
                </a:lnTo>
                <a:lnTo>
                  <a:pt x="390" y="540"/>
                </a:lnTo>
                <a:lnTo>
                  <a:pt x="366" y="522"/>
                </a:lnTo>
                <a:lnTo>
                  <a:pt x="372" y="480"/>
                </a:lnTo>
                <a:lnTo>
                  <a:pt x="354" y="444"/>
                </a:lnTo>
                <a:lnTo>
                  <a:pt x="336" y="450"/>
                </a:lnTo>
                <a:lnTo>
                  <a:pt x="330" y="438"/>
                </a:lnTo>
                <a:lnTo>
                  <a:pt x="336" y="432"/>
                </a:lnTo>
                <a:lnTo>
                  <a:pt x="348" y="426"/>
                </a:lnTo>
                <a:lnTo>
                  <a:pt x="354" y="420"/>
                </a:lnTo>
                <a:lnTo>
                  <a:pt x="354" y="414"/>
                </a:lnTo>
                <a:lnTo>
                  <a:pt x="360" y="408"/>
                </a:lnTo>
                <a:lnTo>
                  <a:pt x="360" y="396"/>
                </a:lnTo>
                <a:lnTo>
                  <a:pt x="372" y="384"/>
                </a:lnTo>
                <a:lnTo>
                  <a:pt x="378" y="378"/>
                </a:lnTo>
                <a:lnTo>
                  <a:pt x="390" y="354"/>
                </a:lnTo>
                <a:lnTo>
                  <a:pt x="390" y="330"/>
                </a:lnTo>
                <a:lnTo>
                  <a:pt x="384" y="324"/>
                </a:lnTo>
                <a:lnTo>
                  <a:pt x="384" y="318"/>
                </a:lnTo>
                <a:lnTo>
                  <a:pt x="378" y="306"/>
                </a:lnTo>
                <a:lnTo>
                  <a:pt x="366" y="288"/>
                </a:lnTo>
                <a:lnTo>
                  <a:pt x="354" y="282"/>
                </a:lnTo>
                <a:lnTo>
                  <a:pt x="348" y="276"/>
                </a:lnTo>
                <a:lnTo>
                  <a:pt x="324" y="270"/>
                </a:lnTo>
                <a:lnTo>
                  <a:pt x="348" y="222"/>
                </a:lnTo>
                <a:lnTo>
                  <a:pt x="360" y="192"/>
                </a:lnTo>
                <a:lnTo>
                  <a:pt x="420" y="102"/>
                </a:lnTo>
                <a:lnTo>
                  <a:pt x="426" y="114"/>
                </a:lnTo>
                <a:lnTo>
                  <a:pt x="450" y="126"/>
                </a:lnTo>
                <a:lnTo>
                  <a:pt x="456" y="132"/>
                </a:lnTo>
                <a:lnTo>
                  <a:pt x="462" y="144"/>
                </a:lnTo>
                <a:lnTo>
                  <a:pt x="462" y="156"/>
                </a:lnTo>
                <a:lnTo>
                  <a:pt x="468" y="168"/>
                </a:lnTo>
                <a:lnTo>
                  <a:pt x="492" y="192"/>
                </a:lnTo>
                <a:lnTo>
                  <a:pt x="504" y="186"/>
                </a:lnTo>
                <a:lnTo>
                  <a:pt x="498" y="168"/>
                </a:lnTo>
                <a:lnTo>
                  <a:pt x="498" y="150"/>
                </a:lnTo>
                <a:lnTo>
                  <a:pt x="510" y="144"/>
                </a:lnTo>
                <a:lnTo>
                  <a:pt x="522" y="150"/>
                </a:lnTo>
                <a:lnTo>
                  <a:pt x="564" y="180"/>
                </a:lnTo>
                <a:lnTo>
                  <a:pt x="594" y="186"/>
                </a:lnTo>
                <a:lnTo>
                  <a:pt x="606" y="180"/>
                </a:lnTo>
                <a:lnTo>
                  <a:pt x="606" y="168"/>
                </a:lnTo>
                <a:lnTo>
                  <a:pt x="612" y="156"/>
                </a:lnTo>
                <a:lnTo>
                  <a:pt x="618" y="150"/>
                </a:lnTo>
                <a:lnTo>
                  <a:pt x="624" y="138"/>
                </a:lnTo>
                <a:lnTo>
                  <a:pt x="624" y="132"/>
                </a:lnTo>
                <a:lnTo>
                  <a:pt x="612" y="120"/>
                </a:lnTo>
                <a:lnTo>
                  <a:pt x="618" y="114"/>
                </a:lnTo>
                <a:lnTo>
                  <a:pt x="624" y="108"/>
                </a:lnTo>
                <a:lnTo>
                  <a:pt x="630" y="108"/>
                </a:lnTo>
                <a:lnTo>
                  <a:pt x="636" y="114"/>
                </a:lnTo>
                <a:lnTo>
                  <a:pt x="654" y="102"/>
                </a:lnTo>
                <a:lnTo>
                  <a:pt x="642" y="96"/>
                </a:lnTo>
                <a:lnTo>
                  <a:pt x="624" y="90"/>
                </a:lnTo>
                <a:lnTo>
                  <a:pt x="630" y="78"/>
                </a:lnTo>
                <a:lnTo>
                  <a:pt x="654" y="84"/>
                </a:lnTo>
                <a:lnTo>
                  <a:pt x="672" y="78"/>
                </a:lnTo>
                <a:lnTo>
                  <a:pt x="684" y="78"/>
                </a:lnTo>
                <a:lnTo>
                  <a:pt x="702" y="78"/>
                </a:lnTo>
                <a:lnTo>
                  <a:pt x="720" y="90"/>
                </a:lnTo>
                <a:lnTo>
                  <a:pt x="732" y="102"/>
                </a:lnTo>
                <a:lnTo>
                  <a:pt x="744" y="114"/>
                </a:lnTo>
                <a:lnTo>
                  <a:pt x="750" y="120"/>
                </a:lnTo>
                <a:lnTo>
                  <a:pt x="750" y="126"/>
                </a:lnTo>
                <a:lnTo>
                  <a:pt x="774" y="126"/>
                </a:lnTo>
                <a:lnTo>
                  <a:pt x="810" y="120"/>
                </a:lnTo>
                <a:lnTo>
                  <a:pt x="816" y="120"/>
                </a:lnTo>
                <a:lnTo>
                  <a:pt x="816" y="96"/>
                </a:lnTo>
                <a:lnTo>
                  <a:pt x="828" y="78"/>
                </a:lnTo>
                <a:lnTo>
                  <a:pt x="840" y="72"/>
                </a:lnTo>
                <a:lnTo>
                  <a:pt x="852" y="72"/>
                </a:lnTo>
                <a:lnTo>
                  <a:pt x="870" y="72"/>
                </a:lnTo>
                <a:lnTo>
                  <a:pt x="888" y="66"/>
                </a:lnTo>
                <a:lnTo>
                  <a:pt x="912" y="54"/>
                </a:lnTo>
                <a:lnTo>
                  <a:pt x="924" y="36"/>
                </a:lnTo>
                <a:lnTo>
                  <a:pt x="912" y="24"/>
                </a:lnTo>
                <a:lnTo>
                  <a:pt x="942" y="0"/>
                </a:lnTo>
                <a:lnTo>
                  <a:pt x="984" y="36"/>
                </a:lnTo>
                <a:lnTo>
                  <a:pt x="990" y="42"/>
                </a:lnTo>
                <a:lnTo>
                  <a:pt x="1020" y="66"/>
                </a:lnTo>
                <a:lnTo>
                  <a:pt x="1044" y="78"/>
                </a:lnTo>
                <a:lnTo>
                  <a:pt x="1062" y="78"/>
                </a:lnTo>
                <a:lnTo>
                  <a:pt x="1116" y="66"/>
                </a:lnTo>
                <a:lnTo>
                  <a:pt x="1134" y="66"/>
                </a:lnTo>
                <a:lnTo>
                  <a:pt x="1158" y="84"/>
                </a:lnTo>
                <a:lnTo>
                  <a:pt x="1158" y="96"/>
                </a:lnTo>
                <a:lnTo>
                  <a:pt x="1158" y="132"/>
                </a:lnTo>
                <a:lnTo>
                  <a:pt x="1152" y="168"/>
                </a:lnTo>
                <a:lnTo>
                  <a:pt x="1152" y="174"/>
                </a:lnTo>
                <a:lnTo>
                  <a:pt x="1158" y="186"/>
                </a:lnTo>
                <a:lnTo>
                  <a:pt x="1158" y="204"/>
                </a:lnTo>
                <a:lnTo>
                  <a:pt x="1164" y="234"/>
                </a:lnTo>
                <a:lnTo>
                  <a:pt x="1170" y="246"/>
                </a:lnTo>
                <a:lnTo>
                  <a:pt x="1158" y="240"/>
                </a:lnTo>
                <a:lnTo>
                  <a:pt x="1158" y="270"/>
                </a:lnTo>
                <a:lnTo>
                  <a:pt x="1158" y="282"/>
                </a:lnTo>
                <a:lnTo>
                  <a:pt x="1158" y="330"/>
                </a:lnTo>
                <a:lnTo>
                  <a:pt x="1176" y="330"/>
                </a:lnTo>
                <a:lnTo>
                  <a:pt x="1188" y="414"/>
                </a:lnTo>
                <a:lnTo>
                  <a:pt x="1194" y="450"/>
                </a:lnTo>
                <a:lnTo>
                  <a:pt x="1206" y="456"/>
                </a:lnTo>
                <a:lnTo>
                  <a:pt x="1206" y="462"/>
                </a:lnTo>
                <a:lnTo>
                  <a:pt x="1212" y="468"/>
                </a:lnTo>
                <a:lnTo>
                  <a:pt x="1230" y="492"/>
                </a:lnTo>
                <a:lnTo>
                  <a:pt x="1236" y="516"/>
                </a:lnTo>
                <a:lnTo>
                  <a:pt x="1242" y="516"/>
                </a:lnTo>
                <a:lnTo>
                  <a:pt x="1260" y="504"/>
                </a:lnTo>
                <a:lnTo>
                  <a:pt x="1266" y="510"/>
                </a:lnTo>
                <a:lnTo>
                  <a:pt x="1266" y="516"/>
                </a:lnTo>
                <a:lnTo>
                  <a:pt x="1248" y="528"/>
                </a:lnTo>
                <a:lnTo>
                  <a:pt x="1242" y="546"/>
                </a:lnTo>
                <a:lnTo>
                  <a:pt x="1236" y="564"/>
                </a:lnTo>
                <a:lnTo>
                  <a:pt x="1236" y="582"/>
                </a:lnTo>
                <a:lnTo>
                  <a:pt x="1236" y="606"/>
                </a:lnTo>
                <a:lnTo>
                  <a:pt x="1236" y="630"/>
                </a:lnTo>
                <a:lnTo>
                  <a:pt x="1230" y="648"/>
                </a:lnTo>
                <a:lnTo>
                  <a:pt x="1248" y="654"/>
                </a:lnTo>
                <a:lnTo>
                  <a:pt x="1248" y="678"/>
                </a:lnTo>
                <a:lnTo>
                  <a:pt x="1236" y="684"/>
                </a:lnTo>
                <a:lnTo>
                  <a:pt x="1218" y="690"/>
                </a:lnTo>
                <a:lnTo>
                  <a:pt x="1218" y="708"/>
                </a:lnTo>
                <a:lnTo>
                  <a:pt x="1230" y="774"/>
                </a:lnTo>
                <a:lnTo>
                  <a:pt x="1230" y="792"/>
                </a:lnTo>
                <a:lnTo>
                  <a:pt x="1218" y="798"/>
                </a:lnTo>
                <a:lnTo>
                  <a:pt x="1212" y="798"/>
                </a:lnTo>
                <a:lnTo>
                  <a:pt x="1206" y="810"/>
                </a:lnTo>
                <a:lnTo>
                  <a:pt x="1200" y="822"/>
                </a:lnTo>
                <a:lnTo>
                  <a:pt x="1212" y="828"/>
                </a:lnTo>
                <a:lnTo>
                  <a:pt x="1224" y="840"/>
                </a:lnTo>
                <a:lnTo>
                  <a:pt x="1236" y="846"/>
                </a:lnTo>
                <a:lnTo>
                  <a:pt x="1254" y="858"/>
                </a:lnTo>
                <a:lnTo>
                  <a:pt x="1254" y="864"/>
                </a:lnTo>
                <a:lnTo>
                  <a:pt x="1260" y="876"/>
                </a:lnTo>
                <a:lnTo>
                  <a:pt x="1272" y="882"/>
                </a:lnTo>
                <a:lnTo>
                  <a:pt x="1272" y="864"/>
                </a:lnTo>
                <a:lnTo>
                  <a:pt x="1290" y="876"/>
                </a:lnTo>
                <a:lnTo>
                  <a:pt x="1308" y="876"/>
                </a:lnTo>
                <a:lnTo>
                  <a:pt x="1308" y="882"/>
                </a:lnTo>
                <a:lnTo>
                  <a:pt x="1338" y="888"/>
                </a:lnTo>
                <a:lnTo>
                  <a:pt x="1338" y="870"/>
                </a:lnTo>
                <a:lnTo>
                  <a:pt x="1392" y="864"/>
                </a:lnTo>
                <a:lnTo>
                  <a:pt x="1404" y="810"/>
                </a:lnTo>
                <a:lnTo>
                  <a:pt x="1416" y="810"/>
                </a:lnTo>
                <a:lnTo>
                  <a:pt x="1440" y="810"/>
                </a:lnTo>
                <a:lnTo>
                  <a:pt x="1446" y="810"/>
                </a:lnTo>
                <a:lnTo>
                  <a:pt x="1458" y="804"/>
                </a:lnTo>
                <a:lnTo>
                  <a:pt x="1470" y="804"/>
                </a:lnTo>
                <a:lnTo>
                  <a:pt x="1488" y="840"/>
                </a:lnTo>
                <a:lnTo>
                  <a:pt x="1494" y="858"/>
                </a:lnTo>
                <a:lnTo>
                  <a:pt x="1500" y="870"/>
                </a:lnTo>
                <a:lnTo>
                  <a:pt x="1506" y="882"/>
                </a:lnTo>
                <a:lnTo>
                  <a:pt x="1500" y="906"/>
                </a:lnTo>
                <a:lnTo>
                  <a:pt x="1500" y="918"/>
                </a:lnTo>
                <a:lnTo>
                  <a:pt x="1494" y="960"/>
                </a:lnTo>
                <a:lnTo>
                  <a:pt x="1530" y="990"/>
                </a:lnTo>
                <a:lnTo>
                  <a:pt x="1536" y="996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79" name="Freeform 23"/>
          <p:cNvSpPr>
            <a:spLocks/>
          </p:cNvSpPr>
          <p:nvPr/>
        </p:nvSpPr>
        <p:spPr bwMode="gray">
          <a:xfrm>
            <a:off x="5686425" y="3459163"/>
            <a:ext cx="1616075" cy="1865312"/>
          </a:xfrm>
          <a:custGeom>
            <a:avLst/>
            <a:gdLst>
              <a:gd name="T0" fmla="*/ 122011 w 1674"/>
              <a:gd name="T1" fmla="*/ 22848 h 1938"/>
              <a:gd name="T2" fmla="*/ 121192 w 1674"/>
              <a:gd name="T3" fmla="*/ 26112 h 1938"/>
              <a:gd name="T4" fmla="*/ 120373 w 1674"/>
              <a:gd name="T5" fmla="*/ 29376 h 1938"/>
              <a:gd name="T6" fmla="*/ 117098 w 1674"/>
              <a:gd name="T7" fmla="*/ 33456 h 1938"/>
              <a:gd name="T8" fmla="*/ 115460 w 1674"/>
              <a:gd name="T9" fmla="*/ 37536 h 1938"/>
              <a:gd name="T10" fmla="*/ 116279 w 1674"/>
              <a:gd name="T11" fmla="*/ 42432 h 1938"/>
              <a:gd name="T12" fmla="*/ 113822 w 1674"/>
              <a:gd name="T13" fmla="*/ 44880 h 1938"/>
              <a:gd name="T14" fmla="*/ 109728 w 1674"/>
              <a:gd name="T15" fmla="*/ 48144 h 1938"/>
              <a:gd name="T16" fmla="*/ 109728 w 1674"/>
              <a:gd name="T17" fmla="*/ 53856 h 1938"/>
              <a:gd name="T18" fmla="*/ 107271 w 1674"/>
              <a:gd name="T19" fmla="*/ 60384 h 1938"/>
              <a:gd name="T20" fmla="*/ 113004 w 1674"/>
              <a:gd name="T21" fmla="*/ 64464 h 1938"/>
              <a:gd name="T22" fmla="*/ 111366 w 1674"/>
              <a:gd name="T23" fmla="*/ 68543 h 1938"/>
              <a:gd name="T24" fmla="*/ 108090 w 1674"/>
              <a:gd name="T25" fmla="*/ 69359 h 1938"/>
              <a:gd name="T26" fmla="*/ 103996 w 1674"/>
              <a:gd name="T27" fmla="*/ 71807 h 1938"/>
              <a:gd name="T28" fmla="*/ 107271 w 1674"/>
              <a:gd name="T29" fmla="*/ 74255 h 1938"/>
              <a:gd name="T30" fmla="*/ 99902 w 1674"/>
              <a:gd name="T31" fmla="*/ 79967 h 1938"/>
              <a:gd name="T32" fmla="*/ 96626 w 1674"/>
              <a:gd name="T33" fmla="*/ 80783 h 1938"/>
              <a:gd name="T34" fmla="*/ 94988 w 1674"/>
              <a:gd name="T35" fmla="*/ 87311 h 1938"/>
              <a:gd name="T36" fmla="*/ 92532 w 1674"/>
              <a:gd name="T37" fmla="*/ 93839 h 1938"/>
              <a:gd name="T38" fmla="*/ 94988 w 1674"/>
              <a:gd name="T39" fmla="*/ 103631 h 1938"/>
              <a:gd name="T40" fmla="*/ 97445 w 1674"/>
              <a:gd name="T41" fmla="*/ 106895 h 1938"/>
              <a:gd name="T42" fmla="*/ 94988 w 1674"/>
              <a:gd name="T43" fmla="*/ 113423 h 1938"/>
              <a:gd name="T44" fmla="*/ 88438 w 1674"/>
              <a:gd name="T45" fmla="*/ 117503 h 1938"/>
              <a:gd name="T46" fmla="*/ 88438 w 1674"/>
              <a:gd name="T47" fmla="*/ 129743 h 1938"/>
              <a:gd name="T48" fmla="*/ 81068 w 1674"/>
              <a:gd name="T49" fmla="*/ 130559 h 1938"/>
              <a:gd name="T50" fmla="*/ 79430 w 1674"/>
              <a:gd name="T51" fmla="*/ 137903 h 1938"/>
              <a:gd name="T52" fmla="*/ 72060 w 1674"/>
              <a:gd name="T53" fmla="*/ 137903 h 1938"/>
              <a:gd name="T54" fmla="*/ 64690 w 1674"/>
              <a:gd name="T55" fmla="*/ 137087 h 1938"/>
              <a:gd name="T56" fmla="*/ 49951 w 1674"/>
              <a:gd name="T57" fmla="*/ 139535 h 1938"/>
              <a:gd name="T58" fmla="*/ 45038 w 1674"/>
              <a:gd name="T59" fmla="*/ 128111 h 1938"/>
              <a:gd name="T60" fmla="*/ 34392 w 1674"/>
              <a:gd name="T61" fmla="*/ 132191 h 1938"/>
              <a:gd name="T62" fmla="*/ 27023 w 1674"/>
              <a:gd name="T63" fmla="*/ 128927 h 1938"/>
              <a:gd name="T64" fmla="*/ 25385 w 1674"/>
              <a:gd name="T65" fmla="*/ 119135 h 1938"/>
              <a:gd name="T66" fmla="*/ 27023 w 1674"/>
              <a:gd name="T67" fmla="*/ 108527 h 1938"/>
              <a:gd name="T68" fmla="*/ 24566 w 1674"/>
              <a:gd name="T69" fmla="*/ 101183 h 1938"/>
              <a:gd name="T70" fmla="*/ 21291 w 1674"/>
              <a:gd name="T71" fmla="*/ 84863 h 1938"/>
              <a:gd name="T72" fmla="*/ 21291 w 1674"/>
              <a:gd name="T73" fmla="*/ 74255 h 1938"/>
              <a:gd name="T74" fmla="*/ 3275 w 1674"/>
              <a:gd name="T75" fmla="*/ 69359 h 1938"/>
              <a:gd name="T76" fmla="*/ 4094 w 1674"/>
              <a:gd name="T77" fmla="*/ 56304 h 1938"/>
              <a:gd name="T78" fmla="*/ 13921 w 1674"/>
              <a:gd name="T79" fmla="*/ 51408 h 1938"/>
              <a:gd name="T80" fmla="*/ 27841 w 1674"/>
              <a:gd name="T81" fmla="*/ 49776 h 1938"/>
              <a:gd name="T82" fmla="*/ 28660 w 1674"/>
              <a:gd name="T83" fmla="*/ 41616 h 1938"/>
              <a:gd name="T84" fmla="*/ 27841 w 1674"/>
              <a:gd name="T85" fmla="*/ 35088 h 1938"/>
              <a:gd name="T86" fmla="*/ 37668 w 1674"/>
              <a:gd name="T87" fmla="*/ 28560 h 1938"/>
              <a:gd name="T88" fmla="*/ 40124 w 1674"/>
              <a:gd name="T89" fmla="*/ 25296 h 1938"/>
              <a:gd name="T90" fmla="*/ 38487 w 1674"/>
              <a:gd name="T91" fmla="*/ 19584 h 1938"/>
              <a:gd name="T92" fmla="*/ 38487 w 1674"/>
              <a:gd name="T93" fmla="*/ 14688 h 1938"/>
              <a:gd name="T94" fmla="*/ 43400 w 1674"/>
              <a:gd name="T95" fmla="*/ 8976 h 1938"/>
              <a:gd name="T96" fmla="*/ 47494 w 1674"/>
              <a:gd name="T97" fmla="*/ 2448 h 1938"/>
              <a:gd name="T98" fmla="*/ 52407 w 1674"/>
              <a:gd name="T99" fmla="*/ 816 h 1938"/>
              <a:gd name="T100" fmla="*/ 58139 w 1674"/>
              <a:gd name="T101" fmla="*/ 4080 h 1938"/>
              <a:gd name="T102" fmla="*/ 72879 w 1674"/>
              <a:gd name="T103" fmla="*/ 8976 h 1938"/>
              <a:gd name="T104" fmla="*/ 81068 w 1674"/>
              <a:gd name="T105" fmla="*/ 9792 h 1938"/>
              <a:gd name="T106" fmla="*/ 79430 w 1674"/>
              <a:gd name="T107" fmla="*/ 19584 h 1938"/>
              <a:gd name="T108" fmla="*/ 78611 w 1674"/>
              <a:gd name="T109" fmla="*/ 27744 h 1938"/>
              <a:gd name="T110" fmla="*/ 94170 w 1674"/>
              <a:gd name="T111" fmla="*/ 30192 h 1938"/>
              <a:gd name="T112" fmla="*/ 98264 w 1674"/>
              <a:gd name="T113" fmla="*/ 33456 h 1938"/>
              <a:gd name="T114" fmla="*/ 104815 w 1674"/>
              <a:gd name="T115" fmla="*/ 31824 h 1938"/>
              <a:gd name="T116" fmla="*/ 111366 w 1674"/>
              <a:gd name="T117" fmla="*/ 28560 h 1938"/>
              <a:gd name="T118" fmla="*/ 113822 w 1674"/>
              <a:gd name="T119" fmla="*/ 24480 h 1938"/>
              <a:gd name="T120" fmla="*/ 117098 w 1674"/>
              <a:gd name="T121" fmla="*/ 19584 h 19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674" h="1938">
                <a:moveTo>
                  <a:pt x="1620" y="276"/>
                </a:moveTo>
                <a:lnTo>
                  <a:pt x="1626" y="282"/>
                </a:lnTo>
                <a:lnTo>
                  <a:pt x="1638" y="282"/>
                </a:lnTo>
                <a:lnTo>
                  <a:pt x="1644" y="282"/>
                </a:lnTo>
                <a:lnTo>
                  <a:pt x="1650" y="282"/>
                </a:lnTo>
                <a:lnTo>
                  <a:pt x="1656" y="288"/>
                </a:lnTo>
                <a:lnTo>
                  <a:pt x="1656" y="300"/>
                </a:lnTo>
                <a:lnTo>
                  <a:pt x="1662" y="306"/>
                </a:lnTo>
                <a:lnTo>
                  <a:pt x="1674" y="312"/>
                </a:lnTo>
                <a:lnTo>
                  <a:pt x="1668" y="318"/>
                </a:lnTo>
                <a:lnTo>
                  <a:pt x="1662" y="324"/>
                </a:lnTo>
                <a:lnTo>
                  <a:pt x="1656" y="324"/>
                </a:lnTo>
                <a:lnTo>
                  <a:pt x="1656" y="330"/>
                </a:lnTo>
                <a:lnTo>
                  <a:pt x="1662" y="336"/>
                </a:lnTo>
                <a:lnTo>
                  <a:pt x="1662" y="342"/>
                </a:lnTo>
                <a:lnTo>
                  <a:pt x="1656" y="354"/>
                </a:lnTo>
                <a:lnTo>
                  <a:pt x="1656" y="360"/>
                </a:lnTo>
                <a:lnTo>
                  <a:pt x="1656" y="366"/>
                </a:lnTo>
                <a:lnTo>
                  <a:pt x="1650" y="372"/>
                </a:lnTo>
                <a:lnTo>
                  <a:pt x="1656" y="378"/>
                </a:lnTo>
                <a:lnTo>
                  <a:pt x="1668" y="378"/>
                </a:lnTo>
                <a:lnTo>
                  <a:pt x="1674" y="384"/>
                </a:lnTo>
                <a:lnTo>
                  <a:pt x="1674" y="390"/>
                </a:lnTo>
                <a:lnTo>
                  <a:pt x="1668" y="396"/>
                </a:lnTo>
                <a:lnTo>
                  <a:pt x="1668" y="402"/>
                </a:lnTo>
                <a:lnTo>
                  <a:pt x="1656" y="408"/>
                </a:lnTo>
                <a:lnTo>
                  <a:pt x="1644" y="408"/>
                </a:lnTo>
                <a:lnTo>
                  <a:pt x="1644" y="414"/>
                </a:lnTo>
                <a:lnTo>
                  <a:pt x="1638" y="420"/>
                </a:lnTo>
                <a:lnTo>
                  <a:pt x="1638" y="432"/>
                </a:lnTo>
                <a:lnTo>
                  <a:pt x="1632" y="438"/>
                </a:lnTo>
                <a:lnTo>
                  <a:pt x="1626" y="444"/>
                </a:lnTo>
                <a:lnTo>
                  <a:pt x="1626" y="456"/>
                </a:lnTo>
                <a:lnTo>
                  <a:pt x="1614" y="456"/>
                </a:lnTo>
                <a:lnTo>
                  <a:pt x="1608" y="462"/>
                </a:lnTo>
                <a:lnTo>
                  <a:pt x="1602" y="462"/>
                </a:lnTo>
                <a:lnTo>
                  <a:pt x="1596" y="462"/>
                </a:lnTo>
                <a:lnTo>
                  <a:pt x="1590" y="462"/>
                </a:lnTo>
                <a:lnTo>
                  <a:pt x="1584" y="462"/>
                </a:lnTo>
                <a:lnTo>
                  <a:pt x="1578" y="468"/>
                </a:lnTo>
                <a:lnTo>
                  <a:pt x="1572" y="474"/>
                </a:lnTo>
                <a:lnTo>
                  <a:pt x="1572" y="486"/>
                </a:lnTo>
                <a:lnTo>
                  <a:pt x="1572" y="492"/>
                </a:lnTo>
                <a:lnTo>
                  <a:pt x="1578" y="504"/>
                </a:lnTo>
                <a:lnTo>
                  <a:pt x="1578" y="516"/>
                </a:lnTo>
                <a:lnTo>
                  <a:pt x="1584" y="522"/>
                </a:lnTo>
                <a:lnTo>
                  <a:pt x="1590" y="522"/>
                </a:lnTo>
                <a:lnTo>
                  <a:pt x="1596" y="534"/>
                </a:lnTo>
                <a:lnTo>
                  <a:pt x="1602" y="540"/>
                </a:lnTo>
                <a:lnTo>
                  <a:pt x="1608" y="552"/>
                </a:lnTo>
                <a:lnTo>
                  <a:pt x="1602" y="552"/>
                </a:lnTo>
                <a:lnTo>
                  <a:pt x="1596" y="558"/>
                </a:lnTo>
                <a:lnTo>
                  <a:pt x="1590" y="570"/>
                </a:lnTo>
                <a:lnTo>
                  <a:pt x="1596" y="582"/>
                </a:lnTo>
                <a:lnTo>
                  <a:pt x="1596" y="594"/>
                </a:lnTo>
                <a:lnTo>
                  <a:pt x="1596" y="600"/>
                </a:lnTo>
                <a:lnTo>
                  <a:pt x="1590" y="606"/>
                </a:lnTo>
                <a:lnTo>
                  <a:pt x="1578" y="606"/>
                </a:lnTo>
                <a:lnTo>
                  <a:pt x="1572" y="612"/>
                </a:lnTo>
                <a:lnTo>
                  <a:pt x="1566" y="618"/>
                </a:lnTo>
                <a:lnTo>
                  <a:pt x="1560" y="618"/>
                </a:lnTo>
                <a:lnTo>
                  <a:pt x="1560" y="624"/>
                </a:lnTo>
                <a:lnTo>
                  <a:pt x="1554" y="624"/>
                </a:lnTo>
                <a:lnTo>
                  <a:pt x="1548" y="630"/>
                </a:lnTo>
                <a:lnTo>
                  <a:pt x="1542" y="630"/>
                </a:lnTo>
                <a:lnTo>
                  <a:pt x="1536" y="636"/>
                </a:lnTo>
                <a:lnTo>
                  <a:pt x="1530" y="642"/>
                </a:lnTo>
                <a:lnTo>
                  <a:pt x="1518" y="642"/>
                </a:lnTo>
                <a:lnTo>
                  <a:pt x="1518" y="648"/>
                </a:lnTo>
                <a:lnTo>
                  <a:pt x="1518" y="654"/>
                </a:lnTo>
                <a:lnTo>
                  <a:pt x="1512" y="666"/>
                </a:lnTo>
                <a:lnTo>
                  <a:pt x="1506" y="660"/>
                </a:lnTo>
                <a:lnTo>
                  <a:pt x="1500" y="666"/>
                </a:lnTo>
                <a:lnTo>
                  <a:pt x="1500" y="678"/>
                </a:lnTo>
                <a:lnTo>
                  <a:pt x="1500" y="684"/>
                </a:lnTo>
                <a:lnTo>
                  <a:pt x="1500" y="696"/>
                </a:lnTo>
                <a:lnTo>
                  <a:pt x="1506" y="708"/>
                </a:lnTo>
                <a:lnTo>
                  <a:pt x="1506" y="720"/>
                </a:lnTo>
                <a:lnTo>
                  <a:pt x="1506" y="726"/>
                </a:lnTo>
                <a:lnTo>
                  <a:pt x="1506" y="738"/>
                </a:lnTo>
                <a:lnTo>
                  <a:pt x="1506" y="744"/>
                </a:lnTo>
                <a:lnTo>
                  <a:pt x="1500" y="750"/>
                </a:lnTo>
                <a:lnTo>
                  <a:pt x="1506" y="756"/>
                </a:lnTo>
                <a:lnTo>
                  <a:pt x="1500" y="768"/>
                </a:lnTo>
                <a:lnTo>
                  <a:pt x="1500" y="780"/>
                </a:lnTo>
                <a:lnTo>
                  <a:pt x="1488" y="792"/>
                </a:lnTo>
                <a:lnTo>
                  <a:pt x="1482" y="798"/>
                </a:lnTo>
                <a:lnTo>
                  <a:pt x="1476" y="804"/>
                </a:lnTo>
                <a:lnTo>
                  <a:pt x="1470" y="816"/>
                </a:lnTo>
                <a:lnTo>
                  <a:pt x="1470" y="828"/>
                </a:lnTo>
                <a:lnTo>
                  <a:pt x="1476" y="834"/>
                </a:lnTo>
                <a:lnTo>
                  <a:pt x="1488" y="834"/>
                </a:lnTo>
                <a:lnTo>
                  <a:pt x="1494" y="840"/>
                </a:lnTo>
                <a:lnTo>
                  <a:pt x="1512" y="852"/>
                </a:lnTo>
                <a:lnTo>
                  <a:pt x="1524" y="858"/>
                </a:lnTo>
                <a:lnTo>
                  <a:pt x="1536" y="858"/>
                </a:lnTo>
                <a:lnTo>
                  <a:pt x="1536" y="864"/>
                </a:lnTo>
                <a:lnTo>
                  <a:pt x="1542" y="870"/>
                </a:lnTo>
                <a:lnTo>
                  <a:pt x="1542" y="888"/>
                </a:lnTo>
                <a:lnTo>
                  <a:pt x="1548" y="900"/>
                </a:lnTo>
                <a:lnTo>
                  <a:pt x="1536" y="912"/>
                </a:lnTo>
                <a:lnTo>
                  <a:pt x="1530" y="918"/>
                </a:lnTo>
                <a:lnTo>
                  <a:pt x="1524" y="918"/>
                </a:lnTo>
                <a:lnTo>
                  <a:pt x="1524" y="924"/>
                </a:lnTo>
                <a:lnTo>
                  <a:pt x="1524" y="930"/>
                </a:lnTo>
                <a:lnTo>
                  <a:pt x="1518" y="936"/>
                </a:lnTo>
                <a:lnTo>
                  <a:pt x="1524" y="942"/>
                </a:lnTo>
                <a:lnTo>
                  <a:pt x="1524" y="948"/>
                </a:lnTo>
                <a:lnTo>
                  <a:pt x="1518" y="954"/>
                </a:lnTo>
                <a:lnTo>
                  <a:pt x="1512" y="960"/>
                </a:lnTo>
                <a:lnTo>
                  <a:pt x="1512" y="966"/>
                </a:lnTo>
                <a:lnTo>
                  <a:pt x="1512" y="972"/>
                </a:lnTo>
                <a:lnTo>
                  <a:pt x="1506" y="972"/>
                </a:lnTo>
                <a:lnTo>
                  <a:pt x="1500" y="972"/>
                </a:lnTo>
                <a:lnTo>
                  <a:pt x="1494" y="966"/>
                </a:lnTo>
                <a:lnTo>
                  <a:pt x="1488" y="966"/>
                </a:lnTo>
                <a:lnTo>
                  <a:pt x="1482" y="960"/>
                </a:lnTo>
                <a:lnTo>
                  <a:pt x="1476" y="960"/>
                </a:lnTo>
                <a:lnTo>
                  <a:pt x="1464" y="966"/>
                </a:lnTo>
                <a:lnTo>
                  <a:pt x="1452" y="978"/>
                </a:lnTo>
                <a:lnTo>
                  <a:pt x="1440" y="972"/>
                </a:lnTo>
                <a:lnTo>
                  <a:pt x="1428" y="966"/>
                </a:lnTo>
                <a:lnTo>
                  <a:pt x="1422" y="966"/>
                </a:lnTo>
                <a:lnTo>
                  <a:pt x="1422" y="972"/>
                </a:lnTo>
                <a:lnTo>
                  <a:pt x="1422" y="984"/>
                </a:lnTo>
                <a:lnTo>
                  <a:pt x="1422" y="990"/>
                </a:lnTo>
                <a:lnTo>
                  <a:pt x="1422" y="996"/>
                </a:lnTo>
                <a:lnTo>
                  <a:pt x="1428" y="1002"/>
                </a:lnTo>
                <a:lnTo>
                  <a:pt x="1434" y="1008"/>
                </a:lnTo>
                <a:lnTo>
                  <a:pt x="1440" y="1014"/>
                </a:lnTo>
                <a:lnTo>
                  <a:pt x="1446" y="1026"/>
                </a:lnTo>
                <a:lnTo>
                  <a:pt x="1452" y="1026"/>
                </a:lnTo>
                <a:lnTo>
                  <a:pt x="1458" y="1020"/>
                </a:lnTo>
                <a:lnTo>
                  <a:pt x="1464" y="1020"/>
                </a:lnTo>
                <a:lnTo>
                  <a:pt x="1464" y="1026"/>
                </a:lnTo>
                <a:lnTo>
                  <a:pt x="1458" y="1044"/>
                </a:lnTo>
                <a:lnTo>
                  <a:pt x="1452" y="1050"/>
                </a:lnTo>
                <a:lnTo>
                  <a:pt x="1446" y="1056"/>
                </a:lnTo>
                <a:lnTo>
                  <a:pt x="1440" y="1062"/>
                </a:lnTo>
                <a:lnTo>
                  <a:pt x="1428" y="1068"/>
                </a:lnTo>
                <a:lnTo>
                  <a:pt x="1422" y="1074"/>
                </a:lnTo>
                <a:lnTo>
                  <a:pt x="1422" y="1116"/>
                </a:lnTo>
                <a:lnTo>
                  <a:pt x="1380" y="1110"/>
                </a:lnTo>
                <a:lnTo>
                  <a:pt x="1374" y="1110"/>
                </a:lnTo>
                <a:lnTo>
                  <a:pt x="1374" y="1104"/>
                </a:lnTo>
                <a:lnTo>
                  <a:pt x="1374" y="1098"/>
                </a:lnTo>
                <a:lnTo>
                  <a:pt x="1362" y="1098"/>
                </a:lnTo>
                <a:lnTo>
                  <a:pt x="1356" y="1098"/>
                </a:lnTo>
                <a:lnTo>
                  <a:pt x="1350" y="1098"/>
                </a:lnTo>
                <a:lnTo>
                  <a:pt x="1350" y="1104"/>
                </a:lnTo>
                <a:lnTo>
                  <a:pt x="1344" y="1110"/>
                </a:lnTo>
                <a:lnTo>
                  <a:pt x="1338" y="1110"/>
                </a:lnTo>
                <a:lnTo>
                  <a:pt x="1320" y="1116"/>
                </a:lnTo>
                <a:lnTo>
                  <a:pt x="1302" y="1116"/>
                </a:lnTo>
                <a:lnTo>
                  <a:pt x="1302" y="1122"/>
                </a:lnTo>
                <a:lnTo>
                  <a:pt x="1290" y="1140"/>
                </a:lnTo>
                <a:lnTo>
                  <a:pt x="1290" y="1152"/>
                </a:lnTo>
                <a:lnTo>
                  <a:pt x="1284" y="1170"/>
                </a:lnTo>
                <a:lnTo>
                  <a:pt x="1284" y="1182"/>
                </a:lnTo>
                <a:lnTo>
                  <a:pt x="1284" y="1200"/>
                </a:lnTo>
                <a:lnTo>
                  <a:pt x="1284" y="1206"/>
                </a:lnTo>
                <a:lnTo>
                  <a:pt x="1296" y="1212"/>
                </a:lnTo>
                <a:lnTo>
                  <a:pt x="1302" y="1212"/>
                </a:lnTo>
                <a:lnTo>
                  <a:pt x="1308" y="1212"/>
                </a:lnTo>
                <a:lnTo>
                  <a:pt x="1302" y="1230"/>
                </a:lnTo>
                <a:lnTo>
                  <a:pt x="1290" y="1254"/>
                </a:lnTo>
                <a:lnTo>
                  <a:pt x="1296" y="1260"/>
                </a:lnTo>
                <a:lnTo>
                  <a:pt x="1290" y="1272"/>
                </a:lnTo>
                <a:lnTo>
                  <a:pt x="1284" y="1278"/>
                </a:lnTo>
                <a:lnTo>
                  <a:pt x="1278" y="1296"/>
                </a:lnTo>
                <a:lnTo>
                  <a:pt x="1266" y="1296"/>
                </a:lnTo>
                <a:lnTo>
                  <a:pt x="1260" y="1308"/>
                </a:lnTo>
                <a:lnTo>
                  <a:pt x="1266" y="1314"/>
                </a:lnTo>
                <a:lnTo>
                  <a:pt x="1260" y="1338"/>
                </a:lnTo>
                <a:lnTo>
                  <a:pt x="1260" y="1350"/>
                </a:lnTo>
                <a:lnTo>
                  <a:pt x="1254" y="1386"/>
                </a:lnTo>
                <a:lnTo>
                  <a:pt x="1278" y="1422"/>
                </a:lnTo>
                <a:lnTo>
                  <a:pt x="1278" y="1434"/>
                </a:lnTo>
                <a:lnTo>
                  <a:pt x="1284" y="1428"/>
                </a:lnTo>
                <a:lnTo>
                  <a:pt x="1296" y="1428"/>
                </a:lnTo>
                <a:lnTo>
                  <a:pt x="1308" y="1428"/>
                </a:lnTo>
                <a:lnTo>
                  <a:pt x="1314" y="1428"/>
                </a:lnTo>
                <a:lnTo>
                  <a:pt x="1314" y="1434"/>
                </a:lnTo>
                <a:lnTo>
                  <a:pt x="1320" y="1440"/>
                </a:lnTo>
                <a:lnTo>
                  <a:pt x="1338" y="1458"/>
                </a:lnTo>
                <a:lnTo>
                  <a:pt x="1338" y="1464"/>
                </a:lnTo>
                <a:lnTo>
                  <a:pt x="1350" y="1470"/>
                </a:lnTo>
                <a:lnTo>
                  <a:pt x="1344" y="1476"/>
                </a:lnTo>
                <a:lnTo>
                  <a:pt x="1338" y="1476"/>
                </a:lnTo>
                <a:lnTo>
                  <a:pt x="1344" y="1494"/>
                </a:lnTo>
                <a:lnTo>
                  <a:pt x="1332" y="1512"/>
                </a:lnTo>
                <a:lnTo>
                  <a:pt x="1332" y="1518"/>
                </a:lnTo>
                <a:lnTo>
                  <a:pt x="1326" y="1542"/>
                </a:lnTo>
                <a:lnTo>
                  <a:pt x="1320" y="1554"/>
                </a:lnTo>
                <a:lnTo>
                  <a:pt x="1332" y="1566"/>
                </a:lnTo>
                <a:lnTo>
                  <a:pt x="1314" y="1572"/>
                </a:lnTo>
                <a:lnTo>
                  <a:pt x="1308" y="1572"/>
                </a:lnTo>
                <a:lnTo>
                  <a:pt x="1302" y="1566"/>
                </a:lnTo>
                <a:lnTo>
                  <a:pt x="1278" y="1566"/>
                </a:lnTo>
                <a:lnTo>
                  <a:pt x="1266" y="1566"/>
                </a:lnTo>
                <a:lnTo>
                  <a:pt x="1254" y="1572"/>
                </a:lnTo>
                <a:lnTo>
                  <a:pt x="1242" y="1566"/>
                </a:lnTo>
                <a:lnTo>
                  <a:pt x="1236" y="1566"/>
                </a:lnTo>
                <a:lnTo>
                  <a:pt x="1224" y="1572"/>
                </a:lnTo>
                <a:lnTo>
                  <a:pt x="1224" y="1590"/>
                </a:lnTo>
                <a:lnTo>
                  <a:pt x="1212" y="1590"/>
                </a:lnTo>
                <a:lnTo>
                  <a:pt x="1212" y="1620"/>
                </a:lnTo>
                <a:lnTo>
                  <a:pt x="1206" y="1656"/>
                </a:lnTo>
                <a:lnTo>
                  <a:pt x="1218" y="1698"/>
                </a:lnTo>
                <a:lnTo>
                  <a:pt x="1206" y="1722"/>
                </a:lnTo>
                <a:lnTo>
                  <a:pt x="1194" y="1728"/>
                </a:lnTo>
                <a:lnTo>
                  <a:pt x="1194" y="1734"/>
                </a:lnTo>
                <a:lnTo>
                  <a:pt x="1188" y="1740"/>
                </a:lnTo>
                <a:lnTo>
                  <a:pt x="1200" y="1752"/>
                </a:lnTo>
                <a:lnTo>
                  <a:pt x="1188" y="1764"/>
                </a:lnTo>
                <a:lnTo>
                  <a:pt x="1206" y="1794"/>
                </a:lnTo>
                <a:lnTo>
                  <a:pt x="1200" y="1794"/>
                </a:lnTo>
                <a:lnTo>
                  <a:pt x="1200" y="1800"/>
                </a:lnTo>
                <a:lnTo>
                  <a:pt x="1194" y="1806"/>
                </a:lnTo>
                <a:lnTo>
                  <a:pt x="1182" y="1806"/>
                </a:lnTo>
                <a:lnTo>
                  <a:pt x="1170" y="1806"/>
                </a:lnTo>
                <a:lnTo>
                  <a:pt x="1158" y="1806"/>
                </a:lnTo>
                <a:lnTo>
                  <a:pt x="1158" y="1800"/>
                </a:lnTo>
                <a:lnTo>
                  <a:pt x="1128" y="1806"/>
                </a:lnTo>
                <a:lnTo>
                  <a:pt x="1116" y="1812"/>
                </a:lnTo>
                <a:lnTo>
                  <a:pt x="1116" y="1824"/>
                </a:lnTo>
                <a:lnTo>
                  <a:pt x="1116" y="1836"/>
                </a:lnTo>
                <a:lnTo>
                  <a:pt x="1116" y="1842"/>
                </a:lnTo>
                <a:lnTo>
                  <a:pt x="1110" y="1878"/>
                </a:lnTo>
                <a:lnTo>
                  <a:pt x="1110" y="1884"/>
                </a:lnTo>
                <a:lnTo>
                  <a:pt x="1104" y="1890"/>
                </a:lnTo>
                <a:lnTo>
                  <a:pt x="1098" y="1896"/>
                </a:lnTo>
                <a:lnTo>
                  <a:pt x="1092" y="1902"/>
                </a:lnTo>
                <a:lnTo>
                  <a:pt x="1092" y="1908"/>
                </a:lnTo>
                <a:lnTo>
                  <a:pt x="1080" y="1914"/>
                </a:lnTo>
                <a:lnTo>
                  <a:pt x="1074" y="1914"/>
                </a:lnTo>
                <a:lnTo>
                  <a:pt x="1068" y="1926"/>
                </a:lnTo>
                <a:lnTo>
                  <a:pt x="1068" y="1938"/>
                </a:lnTo>
                <a:lnTo>
                  <a:pt x="1038" y="1932"/>
                </a:lnTo>
                <a:lnTo>
                  <a:pt x="1026" y="1932"/>
                </a:lnTo>
                <a:lnTo>
                  <a:pt x="1008" y="1902"/>
                </a:lnTo>
                <a:lnTo>
                  <a:pt x="1002" y="1896"/>
                </a:lnTo>
                <a:lnTo>
                  <a:pt x="984" y="1908"/>
                </a:lnTo>
                <a:lnTo>
                  <a:pt x="978" y="1914"/>
                </a:lnTo>
                <a:lnTo>
                  <a:pt x="972" y="1914"/>
                </a:lnTo>
                <a:lnTo>
                  <a:pt x="966" y="1920"/>
                </a:lnTo>
                <a:lnTo>
                  <a:pt x="942" y="1920"/>
                </a:lnTo>
                <a:lnTo>
                  <a:pt x="924" y="1920"/>
                </a:lnTo>
                <a:lnTo>
                  <a:pt x="912" y="1920"/>
                </a:lnTo>
                <a:lnTo>
                  <a:pt x="900" y="1890"/>
                </a:lnTo>
                <a:lnTo>
                  <a:pt x="888" y="1896"/>
                </a:lnTo>
                <a:lnTo>
                  <a:pt x="882" y="1896"/>
                </a:lnTo>
                <a:lnTo>
                  <a:pt x="870" y="1902"/>
                </a:lnTo>
                <a:lnTo>
                  <a:pt x="870" y="1920"/>
                </a:lnTo>
                <a:lnTo>
                  <a:pt x="870" y="1932"/>
                </a:lnTo>
                <a:lnTo>
                  <a:pt x="846" y="1920"/>
                </a:lnTo>
                <a:lnTo>
                  <a:pt x="822" y="1914"/>
                </a:lnTo>
                <a:lnTo>
                  <a:pt x="798" y="1890"/>
                </a:lnTo>
                <a:lnTo>
                  <a:pt x="744" y="1908"/>
                </a:lnTo>
                <a:lnTo>
                  <a:pt x="732" y="1914"/>
                </a:lnTo>
                <a:lnTo>
                  <a:pt x="684" y="1932"/>
                </a:lnTo>
                <a:lnTo>
                  <a:pt x="666" y="1932"/>
                </a:lnTo>
                <a:lnTo>
                  <a:pt x="660" y="1926"/>
                </a:lnTo>
                <a:lnTo>
                  <a:pt x="624" y="1896"/>
                </a:lnTo>
                <a:lnTo>
                  <a:pt x="630" y="1854"/>
                </a:lnTo>
                <a:lnTo>
                  <a:pt x="630" y="1842"/>
                </a:lnTo>
                <a:lnTo>
                  <a:pt x="636" y="1818"/>
                </a:lnTo>
                <a:lnTo>
                  <a:pt x="630" y="1806"/>
                </a:lnTo>
                <a:lnTo>
                  <a:pt x="624" y="1794"/>
                </a:lnTo>
                <a:lnTo>
                  <a:pt x="618" y="1776"/>
                </a:lnTo>
                <a:lnTo>
                  <a:pt x="600" y="1740"/>
                </a:lnTo>
                <a:lnTo>
                  <a:pt x="588" y="1740"/>
                </a:lnTo>
                <a:lnTo>
                  <a:pt x="576" y="1746"/>
                </a:lnTo>
                <a:lnTo>
                  <a:pt x="570" y="1746"/>
                </a:lnTo>
                <a:lnTo>
                  <a:pt x="546" y="1746"/>
                </a:lnTo>
                <a:lnTo>
                  <a:pt x="534" y="1746"/>
                </a:lnTo>
                <a:lnTo>
                  <a:pt x="522" y="1800"/>
                </a:lnTo>
                <a:lnTo>
                  <a:pt x="468" y="1806"/>
                </a:lnTo>
                <a:lnTo>
                  <a:pt x="468" y="1824"/>
                </a:lnTo>
                <a:lnTo>
                  <a:pt x="438" y="1818"/>
                </a:lnTo>
                <a:lnTo>
                  <a:pt x="438" y="1812"/>
                </a:lnTo>
                <a:lnTo>
                  <a:pt x="420" y="1812"/>
                </a:lnTo>
                <a:lnTo>
                  <a:pt x="402" y="1800"/>
                </a:lnTo>
                <a:lnTo>
                  <a:pt x="402" y="1818"/>
                </a:lnTo>
                <a:lnTo>
                  <a:pt x="390" y="1812"/>
                </a:lnTo>
                <a:lnTo>
                  <a:pt x="384" y="1800"/>
                </a:lnTo>
                <a:lnTo>
                  <a:pt x="384" y="1794"/>
                </a:lnTo>
                <a:lnTo>
                  <a:pt x="366" y="1782"/>
                </a:lnTo>
                <a:lnTo>
                  <a:pt x="354" y="1776"/>
                </a:lnTo>
                <a:lnTo>
                  <a:pt x="342" y="1764"/>
                </a:lnTo>
                <a:lnTo>
                  <a:pt x="330" y="1758"/>
                </a:lnTo>
                <a:lnTo>
                  <a:pt x="336" y="1746"/>
                </a:lnTo>
                <a:lnTo>
                  <a:pt x="342" y="1734"/>
                </a:lnTo>
                <a:lnTo>
                  <a:pt x="348" y="1734"/>
                </a:lnTo>
                <a:lnTo>
                  <a:pt x="360" y="1728"/>
                </a:lnTo>
                <a:lnTo>
                  <a:pt x="360" y="1710"/>
                </a:lnTo>
                <a:lnTo>
                  <a:pt x="348" y="1644"/>
                </a:lnTo>
                <a:lnTo>
                  <a:pt x="348" y="1626"/>
                </a:lnTo>
                <a:lnTo>
                  <a:pt x="366" y="1620"/>
                </a:lnTo>
                <a:lnTo>
                  <a:pt x="378" y="1614"/>
                </a:lnTo>
                <a:lnTo>
                  <a:pt x="378" y="1590"/>
                </a:lnTo>
                <a:lnTo>
                  <a:pt x="360" y="1584"/>
                </a:lnTo>
                <a:lnTo>
                  <a:pt x="366" y="1566"/>
                </a:lnTo>
                <a:lnTo>
                  <a:pt x="366" y="1542"/>
                </a:lnTo>
                <a:lnTo>
                  <a:pt x="366" y="1518"/>
                </a:lnTo>
                <a:lnTo>
                  <a:pt x="366" y="1500"/>
                </a:lnTo>
                <a:lnTo>
                  <a:pt x="372" y="1482"/>
                </a:lnTo>
                <a:lnTo>
                  <a:pt x="378" y="1464"/>
                </a:lnTo>
                <a:lnTo>
                  <a:pt x="396" y="1452"/>
                </a:lnTo>
                <a:lnTo>
                  <a:pt x="396" y="1446"/>
                </a:lnTo>
                <a:lnTo>
                  <a:pt x="390" y="1440"/>
                </a:lnTo>
                <a:lnTo>
                  <a:pt x="372" y="1452"/>
                </a:lnTo>
                <a:lnTo>
                  <a:pt x="366" y="1452"/>
                </a:lnTo>
                <a:lnTo>
                  <a:pt x="360" y="1428"/>
                </a:lnTo>
                <a:lnTo>
                  <a:pt x="342" y="1404"/>
                </a:lnTo>
                <a:lnTo>
                  <a:pt x="336" y="1398"/>
                </a:lnTo>
                <a:lnTo>
                  <a:pt x="336" y="1392"/>
                </a:lnTo>
                <a:lnTo>
                  <a:pt x="324" y="1386"/>
                </a:lnTo>
                <a:lnTo>
                  <a:pt x="318" y="1350"/>
                </a:lnTo>
                <a:lnTo>
                  <a:pt x="306" y="1266"/>
                </a:lnTo>
                <a:lnTo>
                  <a:pt x="288" y="1266"/>
                </a:lnTo>
                <a:lnTo>
                  <a:pt x="288" y="1218"/>
                </a:lnTo>
                <a:lnTo>
                  <a:pt x="288" y="1206"/>
                </a:lnTo>
                <a:lnTo>
                  <a:pt x="288" y="1176"/>
                </a:lnTo>
                <a:lnTo>
                  <a:pt x="300" y="1182"/>
                </a:lnTo>
                <a:lnTo>
                  <a:pt x="294" y="1170"/>
                </a:lnTo>
                <a:lnTo>
                  <a:pt x="288" y="1140"/>
                </a:lnTo>
                <a:lnTo>
                  <a:pt x="288" y="1122"/>
                </a:lnTo>
                <a:lnTo>
                  <a:pt x="282" y="1110"/>
                </a:lnTo>
                <a:lnTo>
                  <a:pt x="282" y="1104"/>
                </a:lnTo>
                <a:lnTo>
                  <a:pt x="288" y="1068"/>
                </a:lnTo>
                <a:lnTo>
                  <a:pt x="288" y="1032"/>
                </a:lnTo>
                <a:lnTo>
                  <a:pt x="288" y="1020"/>
                </a:lnTo>
                <a:lnTo>
                  <a:pt x="264" y="1002"/>
                </a:lnTo>
                <a:lnTo>
                  <a:pt x="246" y="1002"/>
                </a:lnTo>
                <a:lnTo>
                  <a:pt x="192" y="1014"/>
                </a:lnTo>
                <a:lnTo>
                  <a:pt x="174" y="1014"/>
                </a:lnTo>
                <a:lnTo>
                  <a:pt x="150" y="1002"/>
                </a:lnTo>
                <a:lnTo>
                  <a:pt x="120" y="978"/>
                </a:lnTo>
                <a:lnTo>
                  <a:pt x="114" y="972"/>
                </a:lnTo>
                <a:lnTo>
                  <a:pt x="72" y="936"/>
                </a:lnTo>
                <a:lnTo>
                  <a:pt x="42" y="960"/>
                </a:lnTo>
                <a:lnTo>
                  <a:pt x="30" y="948"/>
                </a:lnTo>
                <a:lnTo>
                  <a:pt x="24" y="936"/>
                </a:lnTo>
                <a:lnTo>
                  <a:pt x="24" y="912"/>
                </a:lnTo>
                <a:lnTo>
                  <a:pt x="24" y="900"/>
                </a:lnTo>
                <a:lnTo>
                  <a:pt x="0" y="852"/>
                </a:lnTo>
                <a:lnTo>
                  <a:pt x="48" y="828"/>
                </a:lnTo>
                <a:lnTo>
                  <a:pt x="48" y="798"/>
                </a:lnTo>
                <a:lnTo>
                  <a:pt x="48" y="786"/>
                </a:lnTo>
                <a:lnTo>
                  <a:pt x="54" y="780"/>
                </a:lnTo>
                <a:lnTo>
                  <a:pt x="60" y="756"/>
                </a:lnTo>
                <a:lnTo>
                  <a:pt x="66" y="756"/>
                </a:lnTo>
                <a:lnTo>
                  <a:pt x="90" y="768"/>
                </a:lnTo>
                <a:lnTo>
                  <a:pt x="114" y="768"/>
                </a:lnTo>
                <a:lnTo>
                  <a:pt x="144" y="750"/>
                </a:lnTo>
                <a:lnTo>
                  <a:pt x="162" y="744"/>
                </a:lnTo>
                <a:lnTo>
                  <a:pt x="168" y="720"/>
                </a:lnTo>
                <a:lnTo>
                  <a:pt x="168" y="714"/>
                </a:lnTo>
                <a:lnTo>
                  <a:pt x="192" y="708"/>
                </a:lnTo>
                <a:lnTo>
                  <a:pt x="198" y="708"/>
                </a:lnTo>
                <a:lnTo>
                  <a:pt x="210" y="708"/>
                </a:lnTo>
                <a:lnTo>
                  <a:pt x="222" y="702"/>
                </a:lnTo>
                <a:lnTo>
                  <a:pt x="240" y="702"/>
                </a:lnTo>
                <a:lnTo>
                  <a:pt x="258" y="708"/>
                </a:lnTo>
                <a:lnTo>
                  <a:pt x="324" y="732"/>
                </a:lnTo>
                <a:lnTo>
                  <a:pt x="360" y="696"/>
                </a:lnTo>
                <a:lnTo>
                  <a:pt x="372" y="702"/>
                </a:lnTo>
                <a:lnTo>
                  <a:pt x="384" y="684"/>
                </a:lnTo>
                <a:lnTo>
                  <a:pt x="408" y="648"/>
                </a:lnTo>
                <a:lnTo>
                  <a:pt x="402" y="612"/>
                </a:lnTo>
                <a:lnTo>
                  <a:pt x="396" y="600"/>
                </a:lnTo>
                <a:lnTo>
                  <a:pt x="378" y="600"/>
                </a:lnTo>
                <a:lnTo>
                  <a:pt x="366" y="588"/>
                </a:lnTo>
                <a:lnTo>
                  <a:pt x="378" y="582"/>
                </a:lnTo>
                <a:lnTo>
                  <a:pt x="390" y="582"/>
                </a:lnTo>
                <a:lnTo>
                  <a:pt x="402" y="582"/>
                </a:lnTo>
                <a:lnTo>
                  <a:pt x="396" y="570"/>
                </a:lnTo>
                <a:lnTo>
                  <a:pt x="390" y="558"/>
                </a:lnTo>
                <a:lnTo>
                  <a:pt x="396" y="546"/>
                </a:lnTo>
                <a:lnTo>
                  <a:pt x="402" y="546"/>
                </a:lnTo>
                <a:lnTo>
                  <a:pt x="408" y="534"/>
                </a:lnTo>
                <a:lnTo>
                  <a:pt x="396" y="522"/>
                </a:lnTo>
                <a:lnTo>
                  <a:pt x="402" y="516"/>
                </a:lnTo>
                <a:lnTo>
                  <a:pt x="408" y="498"/>
                </a:lnTo>
                <a:lnTo>
                  <a:pt x="396" y="492"/>
                </a:lnTo>
                <a:lnTo>
                  <a:pt x="378" y="486"/>
                </a:lnTo>
                <a:lnTo>
                  <a:pt x="378" y="450"/>
                </a:lnTo>
                <a:lnTo>
                  <a:pt x="402" y="444"/>
                </a:lnTo>
                <a:lnTo>
                  <a:pt x="408" y="426"/>
                </a:lnTo>
                <a:lnTo>
                  <a:pt x="414" y="420"/>
                </a:lnTo>
                <a:lnTo>
                  <a:pt x="450" y="408"/>
                </a:lnTo>
                <a:lnTo>
                  <a:pt x="462" y="444"/>
                </a:lnTo>
                <a:lnTo>
                  <a:pt x="516" y="414"/>
                </a:lnTo>
                <a:lnTo>
                  <a:pt x="504" y="402"/>
                </a:lnTo>
                <a:lnTo>
                  <a:pt x="516" y="390"/>
                </a:lnTo>
                <a:lnTo>
                  <a:pt x="516" y="372"/>
                </a:lnTo>
                <a:lnTo>
                  <a:pt x="528" y="378"/>
                </a:lnTo>
                <a:lnTo>
                  <a:pt x="528" y="360"/>
                </a:lnTo>
                <a:lnTo>
                  <a:pt x="534" y="360"/>
                </a:lnTo>
                <a:lnTo>
                  <a:pt x="540" y="384"/>
                </a:lnTo>
                <a:lnTo>
                  <a:pt x="552" y="384"/>
                </a:lnTo>
                <a:lnTo>
                  <a:pt x="552" y="366"/>
                </a:lnTo>
                <a:lnTo>
                  <a:pt x="546" y="360"/>
                </a:lnTo>
                <a:lnTo>
                  <a:pt x="546" y="354"/>
                </a:lnTo>
                <a:lnTo>
                  <a:pt x="540" y="342"/>
                </a:lnTo>
                <a:lnTo>
                  <a:pt x="540" y="330"/>
                </a:lnTo>
                <a:lnTo>
                  <a:pt x="540" y="324"/>
                </a:lnTo>
                <a:lnTo>
                  <a:pt x="540" y="306"/>
                </a:lnTo>
                <a:lnTo>
                  <a:pt x="534" y="300"/>
                </a:lnTo>
                <a:lnTo>
                  <a:pt x="528" y="306"/>
                </a:lnTo>
                <a:lnTo>
                  <a:pt x="534" y="294"/>
                </a:lnTo>
                <a:lnTo>
                  <a:pt x="528" y="282"/>
                </a:lnTo>
                <a:lnTo>
                  <a:pt x="528" y="270"/>
                </a:lnTo>
                <a:lnTo>
                  <a:pt x="534" y="270"/>
                </a:lnTo>
                <a:lnTo>
                  <a:pt x="540" y="264"/>
                </a:lnTo>
                <a:lnTo>
                  <a:pt x="558" y="258"/>
                </a:lnTo>
                <a:lnTo>
                  <a:pt x="558" y="246"/>
                </a:lnTo>
                <a:lnTo>
                  <a:pt x="546" y="240"/>
                </a:lnTo>
                <a:lnTo>
                  <a:pt x="546" y="222"/>
                </a:lnTo>
                <a:lnTo>
                  <a:pt x="534" y="216"/>
                </a:lnTo>
                <a:lnTo>
                  <a:pt x="528" y="216"/>
                </a:lnTo>
                <a:lnTo>
                  <a:pt x="522" y="198"/>
                </a:lnTo>
                <a:lnTo>
                  <a:pt x="552" y="168"/>
                </a:lnTo>
                <a:lnTo>
                  <a:pt x="552" y="162"/>
                </a:lnTo>
                <a:lnTo>
                  <a:pt x="558" y="156"/>
                </a:lnTo>
                <a:lnTo>
                  <a:pt x="564" y="150"/>
                </a:lnTo>
                <a:lnTo>
                  <a:pt x="582" y="132"/>
                </a:lnTo>
                <a:lnTo>
                  <a:pt x="588" y="138"/>
                </a:lnTo>
                <a:lnTo>
                  <a:pt x="588" y="144"/>
                </a:lnTo>
                <a:lnTo>
                  <a:pt x="600" y="138"/>
                </a:lnTo>
                <a:lnTo>
                  <a:pt x="600" y="126"/>
                </a:lnTo>
                <a:lnTo>
                  <a:pt x="618" y="96"/>
                </a:lnTo>
                <a:lnTo>
                  <a:pt x="624" y="96"/>
                </a:lnTo>
                <a:lnTo>
                  <a:pt x="630" y="96"/>
                </a:lnTo>
                <a:lnTo>
                  <a:pt x="642" y="96"/>
                </a:lnTo>
                <a:lnTo>
                  <a:pt x="642" y="90"/>
                </a:lnTo>
                <a:lnTo>
                  <a:pt x="642" y="78"/>
                </a:lnTo>
                <a:lnTo>
                  <a:pt x="630" y="78"/>
                </a:lnTo>
                <a:lnTo>
                  <a:pt x="642" y="60"/>
                </a:lnTo>
                <a:lnTo>
                  <a:pt x="654" y="30"/>
                </a:lnTo>
                <a:lnTo>
                  <a:pt x="666" y="24"/>
                </a:lnTo>
                <a:lnTo>
                  <a:pt x="672" y="6"/>
                </a:lnTo>
                <a:lnTo>
                  <a:pt x="678" y="0"/>
                </a:lnTo>
                <a:lnTo>
                  <a:pt x="690" y="0"/>
                </a:lnTo>
                <a:lnTo>
                  <a:pt x="696" y="6"/>
                </a:lnTo>
                <a:lnTo>
                  <a:pt x="708" y="6"/>
                </a:lnTo>
                <a:lnTo>
                  <a:pt x="714" y="6"/>
                </a:lnTo>
                <a:lnTo>
                  <a:pt x="714" y="12"/>
                </a:lnTo>
                <a:lnTo>
                  <a:pt x="714" y="18"/>
                </a:lnTo>
                <a:lnTo>
                  <a:pt x="720" y="18"/>
                </a:lnTo>
                <a:lnTo>
                  <a:pt x="738" y="18"/>
                </a:lnTo>
                <a:lnTo>
                  <a:pt x="744" y="30"/>
                </a:lnTo>
                <a:lnTo>
                  <a:pt x="756" y="54"/>
                </a:lnTo>
                <a:lnTo>
                  <a:pt x="768" y="84"/>
                </a:lnTo>
                <a:lnTo>
                  <a:pt x="786" y="90"/>
                </a:lnTo>
                <a:lnTo>
                  <a:pt x="786" y="66"/>
                </a:lnTo>
                <a:lnTo>
                  <a:pt x="786" y="60"/>
                </a:lnTo>
                <a:lnTo>
                  <a:pt x="792" y="54"/>
                </a:lnTo>
                <a:lnTo>
                  <a:pt x="810" y="60"/>
                </a:lnTo>
                <a:lnTo>
                  <a:pt x="828" y="72"/>
                </a:lnTo>
                <a:lnTo>
                  <a:pt x="840" y="84"/>
                </a:lnTo>
                <a:lnTo>
                  <a:pt x="870" y="96"/>
                </a:lnTo>
                <a:lnTo>
                  <a:pt x="924" y="96"/>
                </a:lnTo>
                <a:lnTo>
                  <a:pt x="942" y="96"/>
                </a:lnTo>
                <a:lnTo>
                  <a:pt x="972" y="96"/>
                </a:lnTo>
                <a:lnTo>
                  <a:pt x="990" y="108"/>
                </a:lnTo>
                <a:lnTo>
                  <a:pt x="996" y="120"/>
                </a:lnTo>
                <a:lnTo>
                  <a:pt x="1002" y="126"/>
                </a:lnTo>
                <a:lnTo>
                  <a:pt x="1014" y="120"/>
                </a:lnTo>
                <a:lnTo>
                  <a:pt x="1026" y="108"/>
                </a:lnTo>
                <a:lnTo>
                  <a:pt x="1038" y="114"/>
                </a:lnTo>
                <a:lnTo>
                  <a:pt x="1050" y="120"/>
                </a:lnTo>
                <a:lnTo>
                  <a:pt x="1056" y="120"/>
                </a:lnTo>
                <a:lnTo>
                  <a:pt x="1098" y="114"/>
                </a:lnTo>
                <a:lnTo>
                  <a:pt x="1098" y="132"/>
                </a:lnTo>
                <a:lnTo>
                  <a:pt x="1110" y="138"/>
                </a:lnTo>
                <a:lnTo>
                  <a:pt x="1110" y="150"/>
                </a:lnTo>
                <a:lnTo>
                  <a:pt x="1104" y="162"/>
                </a:lnTo>
                <a:lnTo>
                  <a:pt x="1116" y="168"/>
                </a:lnTo>
                <a:lnTo>
                  <a:pt x="1122" y="168"/>
                </a:lnTo>
                <a:lnTo>
                  <a:pt x="1110" y="186"/>
                </a:lnTo>
                <a:lnTo>
                  <a:pt x="1104" y="198"/>
                </a:lnTo>
                <a:lnTo>
                  <a:pt x="1128" y="228"/>
                </a:lnTo>
                <a:lnTo>
                  <a:pt x="1116" y="234"/>
                </a:lnTo>
                <a:lnTo>
                  <a:pt x="1086" y="264"/>
                </a:lnTo>
                <a:lnTo>
                  <a:pt x="1044" y="300"/>
                </a:lnTo>
                <a:lnTo>
                  <a:pt x="1056" y="330"/>
                </a:lnTo>
                <a:lnTo>
                  <a:pt x="1062" y="342"/>
                </a:lnTo>
                <a:lnTo>
                  <a:pt x="1050" y="348"/>
                </a:lnTo>
                <a:lnTo>
                  <a:pt x="1050" y="354"/>
                </a:lnTo>
                <a:lnTo>
                  <a:pt x="1056" y="360"/>
                </a:lnTo>
                <a:lnTo>
                  <a:pt x="1062" y="378"/>
                </a:lnTo>
                <a:lnTo>
                  <a:pt x="1068" y="390"/>
                </a:lnTo>
                <a:lnTo>
                  <a:pt x="1080" y="384"/>
                </a:lnTo>
                <a:lnTo>
                  <a:pt x="1092" y="384"/>
                </a:lnTo>
                <a:lnTo>
                  <a:pt x="1110" y="390"/>
                </a:lnTo>
                <a:lnTo>
                  <a:pt x="1128" y="402"/>
                </a:lnTo>
                <a:lnTo>
                  <a:pt x="1134" y="402"/>
                </a:lnTo>
                <a:lnTo>
                  <a:pt x="1158" y="408"/>
                </a:lnTo>
                <a:lnTo>
                  <a:pt x="1200" y="420"/>
                </a:lnTo>
                <a:lnTo>
                  <a:pt x="1248" y="414"/>
                </a:lnTo>
                <a:lnTo>
                  <a:pt x="1260" y="420"/>
                </a:lnTo>
                <a:lnTo>
                  <a:pt x="1284" y="420"/>
                </a:lnTo>
                <a:lnTo>
                  <a:pt x="1308" y="420"/>
                </a:lnTo>
                <a:lnTo>
                  <a:pt x="1338" y="420"/>
                </a:lnTo>
                <a:lnTo>
                  <a:pt x="1350" y="414"/>
                </a:lnTo>
                <a:lnTo>
                  <a:pt x="1356" y="420"/>
                </a:lnTo>
                <a:lnTo>
                  <a:pt x="1356" y="426"/>
                </a:lnTo>
                <a:lnTo>
                  <a:pt x="1368" y="426"/>
                </a:lnTo>
                <a:lnTo>
                  <a:pt x="1368" y="444"/>
                </a:lnTo>
                <a:lnTo>
                  <a:pt x="1356" y="456"/>
                </a:lnTo>
                <a:lnTo>
                  <a:pt x="1344" y="468"/>
                </a:lnTo>
                <a:lnTo>
                  <a:pt x="1344" y="492"/>
                </a:lnTo>
                <a:lnTo>
                  <a:pt x="1350" y="480"/>
                </a:lnTo>
                <a:lnTo>
                  <a:pt x="1362" y="474"/>
                </a:lnTo>
                <a:lnTo>
                  <a:pt x="1380" y="462"/>
                </a:lnTo>
                <a:lnTo>
                  <a:pt x="1398" y="456"/>
                </a:lnTo>
                <a:lnTo>
                  <a:pt x="1410" y="468"/>
                </a:lnTo>
                <a:lnTo>
                  <a:pt x="1416" y="480"/>
                </a:lnTo>
                <a:lnTo>
                  <a:pt x="1428" y="468"/>
                </a:lnTo>
                <a:lnTo>
                  <a:pt x="1434" y="444"/>
                </a:lnTo>
                <a:lnTo>
                  <a:pt x="1440" y="444"/>
                </a:lnTo>
                <a:lnTo>
                  <a:pt x="1440" y="438"/>
                </a:lnTo>
                <a:lnTo>
                  <a:pt x="1452" y="438"/>
                </a:lnTo>
                <a:lnTo>
                  <a:pt x="1458" y="432"/>
                </a:lnTo>
                <a:lnTo>
                  <a:pt x="1476" y="420"/>
                </a:lnTo>
                <a:lnTo>
                  <a:pt x="1476" y="414"/>
                </a:lnTo>
                <a:lnTo>
                  <a:pt x="1500" y="408"/>
                </a:lnTo>
                <a:lnTo>
                  <a:pt x="1506" y="408"/>
                </a:lnTo>
                <a:lnTo>
                  <a:pt x="1524" y="396"/>
                </a:lnTo>
                <a:lnTo>
                  <a:pt x="1524" y="384"/>
                </a:lnTo>
                <a:lnTo>
                  <a:pt x="1518" y="372"/>
                </a:lnTo>
                <a:lnTo>
                  <a:pt x="1524" y="360"/>
                </a:lnTo>
                <a:lnTo>
                  <a:pt x="1524" y="348"/>
                </a:lnTo>
                <a:lnTo>
                  <a:pt x="1512" y="342"/>
                </a:lnTo>
                <a:lnTo>
                  <a:pt x="1524" y="330"/>
                </a:lnTo>
                <a:lnTo>
                  <a:pt x="1530" y="336"/>
                </a:lnTo>
                <a:lnTo>
                  <a:pt x="1542" y="342"/>
                </a:lnTo>
                <a:lnTo>
                  <a:pt x="1560" y="336"/>
                </a:lnTo>
                <a:lnTo>
                  <a:pt x="1578" y="318"/>
                </a:lnTo>
                <a:lnTo>
                  <a:pt x="1584" y="318"/>
                </a:lnTo>
                <a:lnTo>
                  <a:pt x="1584" y="306"/>
                </a:lnTo>
                <a:lnTo>
                  <a:pt x="1584" y="300"/>
                </a:lnTo>
                <a:lnTo>
                  <a:pt x="1596" y="294"/>
                </a:lnTo>
                <a:lnTo>
                  <a:pt x="1596" y="288"/>
                </a:lnTo>
                <a:lnTo>
                  <a:pt x="1596" y="282"/>
                </a:lnTo>
                <a:lnTo>
                  <a:pt x="1590" y="270"/>
                </a:lnTo>
                <a:lnTo>
                  <a:pt x="1602" y="270"/>
                </a:lnTo>
                <a:lnTo>
                  <a:pt x="1602" y="276"/>
                </a:lnTo>
                <a:lnTo>
                  <a:pt x="1620" y="276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80" name="Freeform 24"/>
          <p:cNvSpPr>
            <a:spLocks/>
          </p:cNvSpPr>
          <p:nvPr/>
        </p:nvSpPr>
        <p:spPr bwMode="gray">
          <a:xfrm>
            <a:off x="4535488" y="2640013"/>
            <a:ext cx="1844675" cy="1905000"/>
          </a:xfrm>
          <a:custGeom>
            <a:avLst/>
            <a:gdLst>
              <a:gd name="T0" fmla="*/ 115322 w 1914"/>
              <a:gd name="T1" fmla="*/ 11434 h 1980"/>
              <a:gd name="T2" fmla="*/ 127590 w 1914"/>
              <a:gd name="T3" fmla="*/ 13067 h 1980"/>
              <a:gd name="T4" fmla="*/ 130044 w 1914"/>
              <a:gd name="T5" fmla="*/ 22867 h 1980"/>
              <a:gd name="T6" fmla="*/ 132497 w 1914"/>
              <a:gd name="T7" fmla="*/ 31851 h 1980"/>
              <a:gd name="T8" fmla="*/ 138223 w 1914"/>
              <a:gd name="T9" fmla="*/ 43284 h 1980"/>
              <a:gd name="T10" fmla="*/ 135769 w 1914"/>
              <a:gd name="T11" fmla="*/ 63701 h 1980"/>
              <a:gd name="T12" fmla="*/ 131680 w 1914"/>
              <a:gd name="T13" fmla="*/ 68601 h 1980"/>
              <a:gd name="T14" fmla="*/ 126772 w 1914"/>
              <a:gd name="T15" fmla="*/ 74318 h 1980"/>
              <a:gd name="T16" fmla="*/ 125954 w 1914"/>
              <a:gd name="T17" fmla="*/ 81668 h 1980"/>
              <a:gd name="T18" fmla="*/ 125954 w 1914"/>
              <a:gd name="T19" fmla="*/ 86568 h 1980"/>
              <a:gd name="T20" fmla="*/ 124319 w 1914"/>
              <a:gd name="T21" fmla="*/ 89018 h 1980"/>
              <a:gd name="T22" fmla="*/ 114504 w 1914"/>
              <a:gd name="T23" fmla="*/ 94735 h 1980"/>
              <a:gd name="T24" fmla="*/ 115322 w 1914"/>
              <a:gd name="T25" fmla="*/ 102085 h 1980"/>
              <a:gd name="T26" fmla="*/ 116958 w 1914"/>
              <a:gd name="T27" fmla="*/ 108618 h 1980"/>
              <a:gd name="T28" fmla="*/ 101418 w 1914"/>
              <a:gd name="T29" fmla="*/ 113518 h 1980"/>
              <a:gd name="T30" fmla="*/ 91603 w 1914"/>
              <a:gd name="T31" fmla="*/ 116785 h 1980"/>
              <a:gd name="T32" fmla="*/ 89150 w 1914"/>
              <a:gd name="T33" fmla="*/ 130669 h 1980"/>
              <a:gd name="T34" fmla="*/ 82606 w 1914"/>
              <a:gd name="T35" fmla="*/ 136386 h 1980"/>
              <a:gd name="T36" fmla="*/ 74428 w 1914"/>
              <a:gd name="T37" fmla="*/ 135569 h 1980"/>
              <a:gd name="T38" fmla="*/ 69520 w 1914"/>
              <a:gd name="T39" fmla="*/ 137202 h 1980"/>
              <a:gd name="T40" fmla="*/ 67885 w 1914"/>
              <a:gd name="T41" fmla="*/ 142919 h 1980"/>
              <a:gd name="T42" fmla="*/ 57252 w 1914"/>
              <a:gd name="T43" fmla="*/ 142102 h 1980"/>
              <a:gd name="T44" fmla="*/ 51527 w 1914"/>
              <a:gd name="T45" fmla="*/ 137202 h 1980"/>
              <a:gd name="T46" fmla="*/ 50709 w 1914"/>
              <a:gd name="T47" fmla="*/ 131485 h 1980"/>
              <a:gd name="T48" fmla="*/ 56434 w 1914"/>
              <a:gd name="T49" fmla="*/ 127402 h 1980"/>
              <a:gd name="T50" fmla="*/ 60524 w 1914"/>
              <a:gd name="T51" fmla="*/ 119235 h 1980"/>
              <a:gd name="T52" fmla="*/ 55616 w 1914"/>
              <a:gd name="T53" fmla="*/ 113518 h 1980"/>
              <a:gd name="T54" fmla="*/ 53163 w 1914"/>
              <a:gd name="T55" fmla="*/ 106985 h 1980"/>
              <a:gd name="T56" fmla="*/ 52345 w 1914"/>
              <a:gd name="T57" fmla="*/ 98002 h 1980"/>
              <a:gd name="T58" fmla="*/ 47437 w 1914"/>
              <a:gd name="T59" fmla="*/ 90651 h 1980"/>
              <a:gd name="T60" fmla="*/ 49073 w 1914"/>
              <a:gd name="T61" fmla="*/ 79218 h 1980"/>
              <a:gd name="T62" fmla="*/ 40076 w 1914"/>
              <a:gd name="T63" fmla="*/ 70234 h 1980"/>
              <a:gd name="T64" fmla="*/ 36805 w 1914"/>
              <a:gd name="T65" fmla="*/ 62884 h 1980"/>
              <a:gd name="T66" fmla="*/ 30262 w 1914"/>
              <a:gd name="T67" fmla="*/ 56351 h 1980"/>
              <a:gd name="T68" fmla="*/ 23719 w 1914"/>
              <a:gd name="T69" fmla="*/ 53901 h 1980"/>
              <a:gd name="T70" fmla="*/ 16358 w 1914"/>
              <a:gd name="T71" fmla="*/ 46551 h 1980"/>
              <a:gd name="T72" fmla="*/ 13086 w 1914"/>
              <a:gd name="T73" fmla="*/ 38384 h 1980"/>
              <a:gd name="T74" fmla="*/ 8997 w 1914"/>
              <a:gd name="T75" fmla="*/ 36751 h 1980"/>
              <a:gd name="T76" fmla="*/ 3272 w 1914"/>
              <a:gd name="T77" fmla="*/ 38384 h 1980"/>
              <a:gd name="T78" fmla="*/ 818 w 1914"/>
              <a:gd name="T79" fmla="*/ 33484 h 1980"/>
              <a:gd name="T80" fmla="*/ 4089 w 1914"/>
              <a:gd name="T81" fmla="*/ 27767 h 1980"/>
              <a:gd name="T82" fmla="*/ 11450 w 1914"/>
              <a:gd name="T83" fmla="*/ 26134 h 1980"/>
              <a:gd name="T84" fmla="*/ 19629 w 1914"/>
              <a:gd name="T85" fmla="*/ 22867 h 1980"/>
              <a:gd name="T86" fmla="*/ 21265 w 1914"/>
              <a:gd name="T87" fmla="*/ 18784 h 1980"/>
              <a:gd name="T88" fmla="*/ 29444 w 1914"/>
              <a:gd name="T89" fmla="*/ 14700 h 1980"/>
              <a:gd name="T90" fmla="*/ 33533 w 1914"/>
              <a:gd name="T91" fmla="*/ 21234 h 1980"/>
              <a:gd name="T92" fmla="*/ 38441 w 1914"/>
              <a:gd name="T93" fmla="*/ 28584 h 1980"/>
              <a:gd name="T94" fmla="*/ 43348 w 1914"/>
              <a:gd name="T95" fmla="*/ 24500 h 1980"/>
              <a:gd name="T96" fmla="*/ 52345 w 1914"/>
              <a:gd name="T97" fmla="*/ 20417 h 1980"/>
              <a:gd name="T98" fmla="*/ 58070 w 1914"/>
              <a:gd name="T99" fmla="*/ 28584 h 1980"/>
              <a:gd name="T100" fmla="*/ 62977 w 1914"/>
              <a:gd name="T101" fmla="*/ 36751 h 1980"/>
              <a:gd name="T102" fmla="*/ 72792 w 1914"/>
              <a:gd name="T103" fmla="*/ 41651 h 1980"/>
              <a:gd name="T104" fmla="*/ 78517 w 1914"/>
              <a:gd name="T105" fmla="*/ 38384 h 1980"/>
              <a:gd name="T106" fmla="*/ 85060 w 1914"/>
              <a:gd name="T107" fmla="*/ 31851 h 1980"/>
              <a:gd name="T108" fmla="*/ 96510 w 1914"/>
              <a:gd name="T109" fmla="*/ 22050 h 1980"/>
              <a:gd name="T110" fmla="*/ 99782 w 1914"/>
              <a:gd name="T111" fmla="*/ 17150 h 1980"/>
              <a:gd name="T112" fmla="*/ 99782 w 1914"/>
              <a:gd name="T113" fmla="*/ 8983 h 1980"/>
              <a:gd name="T114" fmla="*/ 103871 w 1914"/>
              <a:gd name="T115" fmla="*/ 2450 h 1980"/>
              <a:gd name="T116" fmla="*/ 110415 w 1914"/>
              <a:gd name="T117" fmla="*/ 1633 h 198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914" h="1980">
                <a:moveTo>
                  <a:pt x="1524" y="36"/>
                </a:moveTo>
                <a:lnTo>
                  <a:pt x="1524" y="48"/>
                </a:lnTo>
                <a:lnTo>
                  <a:pt x="1536" y="66"/>
                </a:lnTo>
                <a:lnTo>
                  <a:pt x="1536" y="84"/>
                </a:lnTo>
                <a:lnTo>
                  <a:pt x="1536" y="108"/>
                </a:lnTo>
                <a:lnTo>
                  <a:pt x="1536" y="126"/>
                </a:lnTo>
                <a:lnTo>
                  <a:pt x="1530" y="138"/>
                </a:lnTo>
                <a:lnTo>
                  <a:pt x="1542" y="162"/>
                </a:lnTo>
                <a:lnTo>
                  <a:pt x="1578" y="162"/>
                </a:lnTo>
                <a:lnTo>
                  <a:pt x="1584" y="186"/>
                </a:lnTo>
                <a:lnTo>
                  <a:pt x="1614" y="204"/>
                </a:lnTo>
                <a:lnTo>
                  <a:pt x="1620" y="204"/>
                </a:lnTo>
                <a:lnTo>
                  <a:pt x="1644" y="186"/>
                </a:lnTo>
                <a:lnTo>
                  <a:pt x="1668" y="168"/>
                </a:lnTo>
                <a:lnTo>
                  <a:pt x="1680" y="150"/>
                </a:lnTo>
                <a:lnTo>
                  <a:pt x="1710" y="162"/>
                </a:lnTo>
                <a:lnTo>
                  <a:pt x="1734" y="168"/>
                </a:lnTo>
                <a:lnTo>
                  <a:pt x="1752" y="180"/>
                </a:lnTo>
                <a:lnTo>
                  <a:pt x="1758" y="186"/>
                </a:lnTo>
                <a:lnTo>
                  <a:pt x="1770" y="204"/>
                </a:lnTo>
                <a:lnTo>
                  <a:pt x="1770" y="234"/>
                </a:lnTo>
                <a:lnTo>
                  <a:pt x="1782" y="252"/>
                </a:lnTo>
                <a:lnTo>
                  <a:pt x="1782" y="258"/>
                </a:lnTo>
                <a:lnTo>
                  <a:pt x="1782" y="264"/>
                </a:lnTo>
                <a:lnTo>
                  <a:pt x="1776" y="288"/>
                </a:lnTo>
                <a:lnTo>
                  <a:pt x="1764" y="300"/>
                </a:lnTo>
                <a:lnTo>
                  <a:pt x="1782" y="312"/>
                </a:lnTo>
                <a:lnTo>
                  <a:pt x="1782" y="324"/>
                </a:lnTo>
                <a:lnTo>
                  <a:pt x="1794" y="330"/>
                </a:lnTo>
                <a:lnTo>
                  <a:pt x="1794" y="336"/>
                </a:lnTo>
                <a:lnTo>
                  <a:pt x="1824" y="336"/>
                </a:lnTo>
                <a:lnTo>
                  <a:pt x="1836" y="354"/>
                </a:lnTo>
                <a:lnTo>
                  <a:pt x="1818" y="390"/>
                </a:lnTo>
                <a:lnTo>
                  <a:pt x="1830" y="426"/>
                </a:lnTo>
                <a:lnTo>
                  <a:pt x="1818" y="432"/>
                </a:lnTo>
                <a:lnTo>
                  <a:pt x="1818" y="444"/>
                </a:lnTo>
                <a:lnTo>
                  <a:pt x="1830" y="444"/>
                </a:lnTo>
                <a:lnTo>
                  <a:pt x="1830" y="456"/>
                </a:lnTo>
                <a:lnTo>
                  <a:pt x="1842" y="492"/>
                </a:lnTo>
                <a:lnTo>
                  <a:pt x="1854" y="510"/>
                </a:lnTo>
                <a:lnTo>
                  <a:pt x="1866" y="528"/>
                </a:lnTo>
                <a:lnTo>
                  <a:pt x="1872" y="540"/>
                </a:lnTo>
                <a:lnTo>
                  <a:pt x="1878" y="540"/>
                </a:lnTo>
                <a:lnTo>
                  <a:pt x="1896" y="570"/>
                </a:lnTo>
                <a:lnTo>
                  <a:pt x="1896" y="594"/>
                </a:lnTo>
                <a:lnTo>
                  <a:pt x="1902" y="642"/>
                </a:lnTo>
                <a:lnTo>
                  <a:pt x="1902" y="672"/>
                </a:lnTo>
                <a:lnTo>
                  <a:pt x="1908" y="720"/>
                </a:lnTo>
                <a:lnTo>
                  <a:pt x="1914" y="762"/>
                </a:lnTo>
                <a:lnTo>
                  <a:pt x="1914" y="786"/>
                </a:lnTo>
                <a:lnTo>
                  <a:pt x="1884" y="852"/>
                </a:lnTo>
                <a:lnTo>
                  <a:pt x="1872" y="852"/>
                </a:lnTo>
                <a:lnTo>
                  <a:pt x="1866" y="858"/>
                </a:lnTo>
                <a:lnTo>
                  <a:pt x="1860" y="876"/>
                </a:lnTo>
                <a:lnTo>
                  <a:pt x="1848" y="882"/>
                </a:lnTo>
                <a:lnTo>
                  <a:pt x="1836" y="912"/>
                </a:lnTo>
                <a:lnTo>
                  <a:pt x="1824" y="930"/>
                </a:lnTo>
                <a:lnTo>
                  <a:pt x="1836" y="930"/>
                </a:lnTo>
                <a:lnTo>
                  <a:pt x="1836" y="942"/>
                </a:lnTo>
                <a:lnTo>
                  <a:pt x="1836" y="948"/>
                </a:lnTo>
                <a:lnTo>
                  <a:pt x="1824" y="948"/>
                </a:lnTo>
                <a:lnTo>
                  <a:pt x="1818" y="948"/>
                </a:lnTo>
                <a:lnTo>
                  <a:pt x="1812" y="948"/>
                </a:lnTo>
                <a:lnTo>
                  <a:pt x="1794" y="978"/>
                </a:lnTo>
                <a:lnTo>
                  <a:pt x="1794" y="990"/>
                </a:lnTo>
                <a:lnTo>
                  <a:pt x="1782" y="996"/>
                </a:lnTo>
                <a:lnTo>
                  <a:pt x="1782" y="990"/>
                </a:lnTo>
                <a:lnTo>
                  <a:pt x="1776" y="984"/>
                </a:lnTo>
                <a:lnTo>
                  <a:pt x="1758" y="1002"/>
                </a:lnTo>
                <a:lnTo>
                  <a:pt x="1752" y="1008"/>
                </a:lnTo>
                <a:lnTo>
                  <a:pt x="1746" y="1014"/>
                </a:lnTo>
                <a:lnTo>
                  <a:pt x="1746" y="1020"/>
                </a:lnTo>
                <a:lnTo>
                  <a:pt x="1716" y="1050"/>
                </a:lnTo>
                <a:lnTo>
                  <a:pt x="1722" y="1068"/>
                </a:lnTo>
                <a:lnTo>
                  <a:pt x="1728" y="1068"/>
                </a:lnTo>
                <a:lnTo>
                  <a:pt x="1740" y="1074"/>
                </a:lnTo>
                <a:lnTo>
                  <a:pt x="1740" y="1092"/>
                </a:lnTo>
                <a:lnTo>
                  <a:pt x="1752" y="1098"/>
                </a:lnTo>
                <a:lnTo>
                  <a:pt x="1752" y="1110"/>
                </a:lnTo>
                <a:lnTo>
                  <a:pt x="1734" y="1116"/>
                </a:lnTo>
                <a:lnTo>
                  <a:pt x="1728" y="1122"/>
                </a:lnTo>
                <a:lnTo>
                  <a:pt x="1722" y="1122"/>
                </a:lnTo>
                <a:lnTo>
                  <a:pt x="1722" y="1134"/>
                </a:lnTo>
                <a:lnTo>
                  <a:pt x="1728" y="1146"/>
                </a:lnTo>
                <a:lnTo>
                  <a:pt x="1722" y="1158"/>
                </a:lnTo>
                <a:lnTo>
                  <a:pt x="1728" y="1152"/>
                </a:lnTo>
                <a:lnTo>
                  <a:pt x="1734" y="1158"/>
                </a:lnTo>
                <a:lnTo>
                  <a:pt x="1734" y="1176"/>
                </a:lnTo>
                <a:lnTo>
                  <a:pt x="1734" y="1182"/>
                </a:lnTo>
                <a:lnTo>
                  <a:pt x="1734" y="1194"/>
                </a:lnTo>
                <a:lnTo>
                  <a:pt x="1740" y="1206"/>
                </a:lnTo>
                <a:lnTo>
                  <a:pt x="1740" y="1212"/>
                </a:lnTo>
                <a:lnTo>
                  <a:pt x="1746" y="1218"/>
                </a:lnTo>
                <a:lnTo>
                  <a:pt x="1746" y="1236"/>
                </a:lnTo>
                <a:lnTo>
                  <a:pt x="1734" y="1236"/>
                </a:lnTo>
                <a:lnTo>
                  <a:pt x="1728" y="1212"/>
                </a:lnTo>
                <a:lnTo>
                  <a:pt x="1722" y="1212"/>
                </a:lnTo>
                <a:lnTo>
                  <a:pt x="1722" y="1230"/>
                </a:lnTo>
                <a:lnTo>
                  <a:pt x="1710" y="1224"/>
                </a:lnTo>
                <a:lnTo>
                  <a:pt x="1710" y="1242"/>
                </a:lnTo>
                <a:lnTo>
                  <a:pt x="1698" y="1254"/>
                </a:lnTo>
                <a:lnTo>
                  <a:pt x="1710" y="1266"/>
                </a:lnTo>
                <a:lnTo>
                  <a:pt x="1656" y="1296"/>
                </a:lnTo>
                <a:lnTo>
                  <a:pt x="1644" y="1260"/>
                </a:lnTo>
                <a:lnTo>
                  <a:pt x="1608" y="1272"/>
                </a:lnTo>
                <a:lnTo>
                  <a:pt x="1602" y="1278"/>
                </a:lnTo>
                <a:lnTo>
                  <a:pt x="1596" y="1296"/>
                </a:lnTo>
                <a:lnTo>
                  <a:pt x="1572" y="1302"/>
                </a:lnTo>
                <a:lnTo>
                  <a:pt x="1572" y="1338"/>
                </a:lnTo>
                <a:lnTo>
                  <a:pt x="1590" y="1344"/>
                </a:lnTo>
                <a:lnTo>
                  <a:pt x="1602" y="1350"/>
                </a:lnTo>
                <a:lnTo>
                  <a:pt x="1596" y="1368"/>
                </a:lnTo>
                <a:lnTo>
                  <a:pt x="1590" y="1374"/>
                </a:lnTo>
                <a:lnTo>
                  <a:pt x="1602" y="1386"/>
                </a:lnTo>
                <a:lnTo>
                  <a:pt x="1596" y="1398"/>
                </a:lnTo>
                <a:lnTo>
                  <a:pt x="1590" y="1398"/>
                </a:lnTo>
                <a:lnTo>
                  <a:pt x="1584" y="1410"/>
                </a:lnTo>
                <a:lnTo>
                  <a:pt x="1590" y="1422"/>
                </a:lnTo>
                <a:lnTo>
                  <a:pt x="1596" y="1434"/>
                </a:lnTo>
                <a:lnTo>
                  <a:pt x="1584" y="1434"/>
                </a:lnTo>
                <a:lnTo>
                  <a:pt x="1572" y="1434"/>
                </a:lnTo>
                <a:lnTo>
                  <a:pt x="1560" y="1440"/>
                </a:lnTo>
                <a:lnTo>
                  <a:pt x="1572" y="1452"/>
                </a:lnTo>
                <a:lnTo>
                  <a:pt x="1590" y="1452"/>
                </a:lnTo>
                <a:lnTo>
                  <a:pt x="1596" y="1464"/>
                </a:lnTo>
                <a:lnTo>
                  <a:pt x="1602" y="1500"/>
                </a:lnTo>
                <a:lnTo>
                  <a:pt x="1578" y="1536"/>
                </a:lnTo>
                <a:lnTo>
                  <a:pt x="1566" y="1554"/>
                </a:lnTo>
                <a:lnTo>
                  <a:pt x="1554" y="1548"/>
                </a:lnTo>
                <a:lnTo>
                  <a:pt x="1518" y="1584"/>
                </a:lnTo>
                <a:lnTo>
                  <a:pt x="1452" y="1560"/>
                </a:lnTo>
                <a:lnTo>
                  <a:pt x="1434" y="1554"/>
                </a:lnTo>
                <a:lnTo>
                  <a:pt x="1416" y="1554"/>
                </a:lnTo>
                <a:lnTo>
                  <a:pt x="1404" y="1560"/>
                </a:lnTo>
                <a:lnTo>
                  <a:pt x="1392" y="1560"/>
                </a:lnTo>
                <a:lnTo>
                  <a:pt x="1386" y="1560"/>
                </a:lnTo>
                <a:lnTo>
                  <a:pt x="1362" y="1566"/>
                </a:lnTo>
                <a:lnTo>
                  <a:pt x="1362" y="1572"/>
                </a:lnTo>
                <a:lnTo>
                  <a:pt x="1356" y="1596"/>
                </a:lnTo>
                <a:lnTo>
                  <a:pt x="1338" y="1602"/>
                </a:lnTo>
                <a:lnTo>
                  <a:pt x="1308" y="1620"/>
                </a:lnTo>
                <a:lnTo>
                  <a:pt x="1284" y="1620"/>
                </a:lnTo>
                <a:lnTo>
                  <a:pt x="1260" y="1608"/>
                </a:lnTo>
                <a:lnTo>
                  <a:pt x="1254" y="1608"/>
                </a:lnTo>
                <a:lnTo>
                  <a:pt x="1248" y="1632"/>
                </a:lnTo>
                <a:lnTo>
                  <a:pt x="1242" y="1638"/>
                </a:lnTo>
                <a:lnTo>
                  <a:pt x="1242" y="1650"/>
                </a:lnTo>
                <a:lnTo>
                  <a:pt x="1242" y="1680"/>
                </a:lnTo>
                <a:lnTo>
                  <a:pt x="1194" y="1704"/>
                </a:lnTo>
                <a:lnTo>
                  <a:pt x="1218" y="1752"/>
                </a:lnTo>
                <a:lnTo>
                  <a:pt x="1218" y="1764"/>
                </a:lnTo>
                <a:lnTo>
                  <a:pt x="1218" y="1788"/>
                </a:lnTo>
                <a:lnTo>
                  <a:pt x="1224" y="1800"/>
                </a:lnTo>
                <a:lnTo>
                  <a:pt x="1236" y="1812"/>
                </a:lnTo>
                <a:lnTo>
                  <a:pt x="1248" y="1824"/>
                </a:lnTo>
                <a:lnTo>
                  <a:pt x="1236" y="1842"/>
                </a:lnTo>
                <a:lnTo>
                  <a:pt x="1212" y="1854"/>
                </a:lnTo>
                <a:lnTo>
                  <a:pt x="1194" y="1860"/>
                </a:lnTo>
                <a:lnTo>
                  <a:pt x="1176" y="1860"/>
                </a:lnTo>
                <a:lnTo>
                  <a:pt x="1164" y="1860"/>
                </a:lnTo>
                <a:lnTo>
                  <a:pt x="1152" y="1866"/>
                </a:lnTo>
                <a:lnTo>
                  <a:pt x="1140" y="1884"/>
                </a:lnTo>
                <a:lnTo>
                  <a:pt x="1140" y="1908"/>
                </a:lnTo>
                <a:lnTo>
                  <a:pt x="1134" y="1908"/>
                </a:lnTo>
                <a:lnTo>
                  <a:pt x="1098" y="1914"/>
                </a:lnTo>
                <a:lnTo>
                  <a:pt x="1074" y="1914"/>
                </a:lnTo>
                <a:lnTo>
                  <a:pt x="1074" y="1908"/>
                </a:lnTo>
                <a:lnTo>
                  <a:pt x="1068" y="1902"/>
                </a:lnTo>
                <a:lnTo>
                  <a:pt x="1056" y="1890"/>
                </a:lnTo>
                <a:lnTo>
                  <a:pt x="1044" y="1878"/>
                </a:lnTo>
                <a:lnTo>
                  <a:pt x="1026" y="1866"/>
                </a:lnTo>
                <a:lnTo>
                  <a:pt x="1008" y="1866"/>
                </a:lnTo>
                <a:lnTo>
                  <a:pt x="996" y="1866"/>
                </a:lnTo>
                <a:lnTo>
                  <a:pt x="978" y="1872"/>
                </a:lnTo>
                <a:lnTo>
                  <a:pt x="954" y="1866"/>
                </a:lnTo>
                <a:lnTo>
                  <a:pt x="948" y="1878"/>
                </a:lnTo>
                <a:lnTo>
                  <a:pt x="966" y="1884"/>
                </a:lnTo>
                <a:lnTo>
                  <a:pt x="978" y="1890"/>
                </a:lnTo>
                <a:lnTo>
                  <a:pt x="960" y="1902"/>
                </a:lnTo>
                <a:lnTo>
                  <a:pt x="954" y="1896"/>
                </a:lnTo>
                <a:lnTo>
                  <a:pt x="948" y="1896"/>
                </a:lnTo>
                <a:lnTo>
                  <a:pt x="942" y="1902"/>
                </a:lnTo>
                <a:lnTo>
                  <a:pt x="936" y="1908"/>
                </a:lnTo>
                <a:lnTo>
                  <a:pt x="948" y="1920"/>
                </a:lnTo>
                <a:lnTo>
                  <a:pt x="948" y="1926"/>
                </a:lnTo>
                <a:lnTo>
                  <a:pt x="942" y="1938"/>
                </a:lnTo>
                <a:lnTo>
                  <a:pt x="936" y="1944"/>
                </a:lnTo>
                <a:lnTo>
                  <a:pt x="930" y="1956"/>
                </a:lnTo>
                <a:lnTo>
                  <a:pt x="930" y="1968"/>
                </a:lnTo>
                <a:lnTo>
                  <a:pt x="918" y="1974"/>
                </a:lnTo>
                <a:lnTo>
                  <a:pt x="888" y="1968"/>
                </a:lnTo>
                <a:lnTo>
                  <a:pt x="846" y="1938"/>
                </a:lnTo>
                <a:lnTo>
                  <a:pt x="834" y="1932"/>
                </a:lnTo>
                <a:lnTo>
                  <a:pt x="822" y="1938"/>
                </a:lnTo>
                <a:lnTo>
                  <a:pt x="822" y="1956"/>
                </a:lnTo>
                <a:lnTo>
                  <a:pt x="828" y="1974"/>
                </a:lnTo>
                <a:lnTo>
                  <a:pt x="816" y="1980"/>
                </a:lnTo>
                <a:lnTo>
                  <a:pt x="792" y="1956"/>
                </a:lnTo>
                <a:lnTo>
                  <a:pt x="786" y="1944"/>
                </a:lnTo>
                <a:lnTo>
                  <a:pt x="786" y="1932"/>
                </a:lnTo>
                <a:lnTo>
                  <a:pt x="780" y="1920"/>
                </a:lnTo>
                <a:lnTo>
                  <a:pt x="774" y="1914"/>
                </a:lnTo>
                <a:lnTo>
                  <a:pt x="750" y="1902"/>
                </a:lnTo>
                <a:lnTo>
                  <a:pt x="744" y="1890"/>
                </a:lnTo>
                <a:lnTo>
                  <a:pt x="732" y="1860"/>
                </a:lnTo>
                <a:lnTo>
                  <a:pt x="702" y="1866"/>
                </a:lnTo>
                <a:lnTo>
                  <a:pt x="708" y="1890"/>
                </a:lnTo>
                <a:lnTo>
                  <a:pt x="690" y="1896"/>
                </a:lnTo>
                <a:lnTo>
                  <a:pt x="666" y="1884"/>
                </a:lnTo>
                <a:lnTo>
                  <a:pt x="654" y="1866"/>
                </a:lnTo>
                <a:lnTo>
                  <a:pt x="660" y="1854"/>
                </a:lnTo>
                <a:lnTo>
                  <a:pt x="672" y="1848"/>
                </a:lnTo>
                <a:lnTo>
                  <a:pt x="690" y="1842"/>
                </a:lnTo>
                <a:lnTo>
                  <a:pt x="708" y="1848"/>
                </a:lnTo>
                <a:lnTo>
                  <a:pt x="714" y="1842"/>
                </a:lnTo>
                <a:lnTo>
                  <a:pt x="696" y="1812"/>
                </a:lnTo>
                <a:lnTo>
                  <a:pt x="762" y="1812"/>
                </a:lnTo>
                <a:lnTo>
                  <a:pt x="786" y="1818"/>
                </a:lnTo>
                <a:lnTo>
                  <a:pt x="798" y="1824"/>
                </a:lnTo>
                <a:lnTo>
                  <a:pt x="822" y="1806"/>
                </a:lnTo>
                <a:lnTo>
                  <a:pt x="816" y="1794"/>
                </a:lnTo>
                <a:lnTo>
                  <a:pt x="816" y="1782"/>
                </a:lnTo>
                <a:lnTo>
                  <a:pt x="804" y="1776"/>
                </a:lnTo>
                <a:lnTo>
                  <a:pt x="792" y="1764"/>
                </a:lnTo>
                <a:lnTo>
                  <a:pt x="774" y="1752"/>
                </a:lnTo>
                <a:lnTo>
                  <a:pt x="768" y="1746"/>
                </a:lnTo>
                <a:lnTo>
                  <a:pt x="762" y="1734"/>
                </a:lnTo>
                <a:lnTo>
                  <a:pt x="750" y="1734"/>
                </a:lnTo>
                <a:lnTo>
                  <a:pt x="774" y="1710"/>
                </a:lnTo>
                <a:lnTo>
                  <a:pt x="786" y="1692"/>
                </a:lnTo>
                <a:lnTo>
                  <a:pt x="798" y="1668"/>
                </a:lnTo>
                <a:lnTo>
                  <a:pt x="804" y="1656"/>
                </a:lnTo>
                <a:lnTo>
                  <a:pt x="822" y="1650"/>
                </a:lnTo>
                <a:lnTo>
                  <a:pt x="828" y="1644"/>
                </a:lnTo>
                <a:lnTo>
                  <a:pt x="834" y="1632"/>
                </a:lnTo>
                <a:lnTo>
                  <a:pt x="834" y="1614"/>
                </a:lnTo>
                <a:lnTo>
                  <a:pt x="828" y="1608"/>
                </a:lnTo>
                <a:lnTo>
                  <a:pt x="816" y="1590"/>
                </a:lnTo>
                <a:lnTo>
                  <a:pt x="798" y="1590"/>
                </a:lnTo>
                <a:lnTo>
                  <a:pt x="762" y="1602"/>
                </a:lnTo>
                <a:lnTo>
                  <a:pt x="756" y="1590"/>
                </a:lnTo>
                <a:lnTo>
                  <a:pt x="756" y="1578"/>
                </a:lnTo>
                <a:lnTo>
                  <a:pt x="768" y="1566"/>
                </a:lnTo>
                <a:lnTo>
                  <a:pt x="786" y="1554"/>
                </a:lnTo>
                <a:lnTo>
                  <a:pt x="786" y="1548"/>
                </a:lnTo>
                <a:lnTo>
                  <a:pt x="780" y="1536"/>
                </a:lnTo>
                <a:lnTo>
                  <a:pt x="780" y="1518"/>
                </a:lnTo>
                <a:lnTo>
                  <a:pt x="786" y="1512"/>
                </a:lnTo>
                <a:lnTo>
                  <a:pt x="774" y="1500"/>
                </a:lnTo>
                <a:lnTo>
                  <a:pt x="762" y="1494"/>
                </a:lnTo>
                <a:lnTo>
                  <a:pt x="756" y="1488"/>
                </a:lnTo>
                <a:lnTo>
                  <a:pt x="732" y="1470"/>
                </a:lnTo>
                <a:lnTo>
                  <a:pt x="762" y="1440"/>
                </a:lnTo>
                <a:lnTo>
                  <a:pt x="762" y="1434"/>
                </a:lnTo>
                <a:lnTo>
                  <a:pt x="762" y="1416"/>
                </a:lnTo>
                <a:lnTo>
                  <a:pt x="756" y="1410"/>
                </a:lnTo>
                <a:lnTo>
                  <a:pt x="756" y="1404"/>
                </a:lnTo>
                <a:lnTo>
                  <a:pt x="738" y="1404"/>
                </a:lnTo>
                <a:lnTo>
                  <a:pt x="732" y="1404"/>
                </a:lnTo>
                <a:lnTo>
                  <a:pt x="726" y="1380"/>
                </a:lnTo>
                <a:lnTo>
                  <a:pt x="714" y="1356"/>
                </a:lnTo>
                <a:lnTo>
                  <a:pt x="702" y="1350"/>
                </a:lnTo>
                <a:lnTo>
                  <a:pt x="696" y="1332"/>
                </a:lnTo>
                <a:lnTo>
                  <a:pt x="678" y="1326"/>
                </a:lnTo>
                <a:lnTo>
                  <a:pt x="684" y="1308"/>
                </a:lnTo>
                <a:lnTo>
                  <a:pt x="666" y="1302"/>
                </a:lnTo>
                <a:lnTo>
                  <a:pt x="672" y="1296"/>
                </a:lnTo>
                <a:lnTo>
                  <a:pt x="654" y="1272"/>
                </a:lnTo>
                <a:lnTo>
                  <a:pt x="648" y="1260"/>
                </a:lnTo>
                <a:lnTo>
                  <a:pt x="654" y="1248"/>
                </a:lnTo>
                <a:lnTo>
                  <a:pt x="648" y="1230"/>
                </a:lnTo>
                <a:lnTo>
                  <a:pt x="678" y="1206"/>
                </a:lnTo>
                <a:lnTo>
                  <a:pt x="690" y="1188"/>
                </a:lnTo>
                <a:lnTo>
                  <a:pt x="690" y="1158"/>
                </a:lnTo>
                <a:lnTo>
                  <a:pt x="696" y="1152"/>
                </a:lnTo>
                <a:lnTo>
                  <a:pt x="696" y="1140"/>
                </a:lnTo>
                <a:lnTo>
                  <a:pt x="702" y="1128"/>
                </a:lnTo>
                <a:lnTo>
                  <a:pt x="684" y="1092"/>
                </a:lnTo>
                <a:lnTo>
                  <a:pt x="672" y="1092"/>
                </a:lnTo>
                <a:lnTo>
                  <a:pt x="672" y="1074"/>
                </a:lnTo>
                <a:lnTo>
                  <a:pt x="636" y="1056"/>
                </a:lnTo>
                <a:lnTo>
                  <a:pt x="612" y="1038"/>
                </a:lnTo>
                <a:lnTo>
                  <a:pt x="594" y="1038"/>
                </a:lnTo>
                <a:lnTo>
                  <a:pt x="576" y="1038"/>
                </a:lnTo>
                <a:lnTo>
                  <a:pt x="570" y="1038"/>
                </a:lnTo>
                <a:lnTo>
                  <a:pt x="558" y="1038"/>
                </a:lnTo>
                <a:lnTo>
                  <a:pt x="546" y="1026"/>
                </a:lnTo>
                <a:lnTo>
                  <a:pt x="546" y="972"/>
                </a:lnTo>
                <a:lnTo>
                  <a:pt x="546" y="960"/>
                </a:lnTo>
                <a:lnTo>
                  <a:pt x="540" y="948"/>
                </a:lnTo>
                <a:lnTo>
                  <a:pt x="558" y="942"/>
                </a:lnTo>
                <a:lnTo>
                  <a:pt x="558" y="918"/>
                </a:lnTo>
                <a:lnTo>
                  <a:pt x="522" y="900"/>
                </a:lnTo>
                <a:lnTo>
                  <a:pt x="522" y="894"/>
                </a:lnTo>
                <a:lnTo>
                  <a:pt x="522" y="876"/>
                </a:lnTo>
                <a:lnTo>
                  <a:pt x="510" y="870"/>
                </a:lnTo>
                <a:lnTo>
                  <a:pt x="504" y="864"/>
                </a:lnTo>
                <a:lnTo>
                  <a:pt x="498" y="846"/>
                </a:lnTo>
                <a:lnTo>
                  <a:pt x="492" y="834"/>
                </a:lnTo>
                <a:lnTo>
                  <a:pt x="480" y="816"/>
                </a:lnTo>
                <a:lnTo>
                  <a:pt x="474" y="816"/>
                </a:lnTo>
                <a:lnTo>
                  <a:pt x="462" y="804"/>
                </a:lnTo>
                <a:lnTo>
                  <a:pt x="462" y="798"/>
                </a:lnTo>
                <a:lnTo>
                  <a:pt x="438" y="786"/>
                </a:lnTo>
                <a:lnTo>
                  <a:pt x="432" y="786"/>
                </a:lnTo>
                <a:lnTo>
                  <a:pt x="420" y="780"/>
                </a:lnTo>
                <a:lnTo>
                  <a:pt x="408" y="780"/>
                </a:lnTo>
                <a:lnTo>
                  <a:pt x="408" y="774"/>
                </a:lnTo>
                <a:lnTo>
                  <a:pt x="396" y="774"/>
                </a:lnTo>
                <a:lnTo>
                  <a:pt x="384" y="762"/>
                </a:lnTo>
                <a:lnTo>
                  <a:pt x="378" y="762"/>
                </a:lnTo>
                <a:lnTo>
                  <a:pt x="366" y="756"/>
                </a:lnTo>
                <a:lnTo>
                  <a:pt x="360" y="756"/>
                </a:lnTo>
                <a:lnTo>
                  <a:pt x="342" y="756"/>
                </a:lnTo>
                <a:lnTo>
                  <a:pt x="330" y="744"/>
                </a:lnTo>
                <a:lnTo>
                  <a:pt x="312" y="738"/>
                </a:lnTo>
                <a:lnTo>
                  <a:pt x="282" y="726"/>
                </a:lnTo>
                <a:lnTo>
                  <a:pt x="282" y="708"/>
                </a:lnTo>
                <a:lnTo>
                  <a:pt x="282" y="696"/>
                </a:lnTo>
                <a:lnTo>
                  <a:pt x="270" y="678"/>
                </a:lnTo>
                <a:lnTo>
                  <a:pt x="270" y="672"/>
                </a:lnTo>
                <a:lnTo>
                  <a:pt x="258" y="654"/>
                </a:lnTo>
                <a:lnTo>
                  <a:pt x="234" y="648"/>
                </a:lnTo>
                <a:lnTo>
                  <a:pt x="228" y="642"/>
                </a:lnTo>
                <a:lnTo>
                  <a:pt x="210" y="630"/>
                </a:lnTo>
                <a:lnTo>
                  <a:pt x="204" y="630"/>
                </a:lnTo>
                <a:lnTo>
                  <a:pt x="186" y="624"/>
                </a:lnTo>
                <a:lnTo>
                  <a:pt x="168" y="612"/>
                </a:lnTo>
                <a:lnTo>
                  <a:pt x="156" y="588"/>
                </a:lnTo>
                <a:lnTo>
                  <a:pt x="156" y="582"/>
                </a:lnTo>
                <a:lnTo>
                  <a:pt x="174" y="558"/>
                </a:lnTo>
                <a:lnTo>
                  <a:pt x="174" y="546"/>
                </a:lnTo>
                <a:lnTo>
                  <a:pt x="186" y="534"/>
                </a:lnTo>
                <a:lnTo>
                  <a:pt x="180" y="528"/>
                </a:lnTo>
                <a:lnTo>
                  <a:pt x="186" y="516"/>
                </a:lnTo>
                <a:lnTo>
                  <a:pt x="192" y="510"/>
                </a:lnTo>
                <a:lnTo>
                  <a:pt x="174" y="498"/>
                </a:lnTo>
                <a:lnTo>
                  <a:pt x="168" y="510"/>
                </a:lnTo>
                <a:lnTo>
                  <a:pt x="162" y="516"/>
                </a:lnTo>
                <a:lnTo>
                  <a:pt x="150" y="510"/>
                </a:lnTo>
                <a:lnTo>
                  <a:pt x="144" y="522"/>
                </a:lnTo>
                <a:lnTo>
                  <a:pt x="120" y="510"/>
                </a:lnTo>
                <a:lnTo>
                  <a:pt x="108" y="522"/>
                </a:lnTo>
                <a:lnTo>
                  <a:pt x="96" y="534"/>
                </a:lnTo>
                <a:lnTo>
                  <a:pt x="102" y="558"/>
                </a:lnTo>
                <a:lnTo>
                  <a:pt x="102" y="564"/>
                </a:lnTo>
                <a:lnTo>
                  <a:pt x="84" y="564"/>
                </a:lnTo>
                <a:lnTo>
                  <a:pt x="84" y="552"/>
                </a:lnTo>
                <a:lnTo>
                  <a:pt x="60" y="534"/>
                </a:lnTo>
                <a:lnTo>
                  <a:pt x="48" y="534"/>
                </a:lnTo>
                <a:lnTo>
                  <a:pt x="48" y="528"/>
                </a:lnTo>
                <a:lnTo>
                  <a:pt x="18" y="522"/>
                </a:lnTo>
                <a:lnTo>
                  <a:pt x="12" y="516"/>
                </a:lnTo>
                <a:lnTo>
                  <a:pt x="12" y="510"/>
                </a:lnTo>
                <a:lnTo>
                  <a:pt x="12" y="504"/>
                </a:lnTo>
                <a:lnTo>
                  <a:pt x="12" y="492"/>
                </a:lnTo>
                <a:lnTo>
                  <a:pt x="6" y="480"/>
                </a:lnTo>
                <a:lnTo>
                  <a:pt x="0" y="480"/>
                </a:lnTo>
                <a:lnTo>
                  <a:pt x="0" y="474"/>
                </a:lnTo>
                <a:lnTo>
                  <a:pt x="6" y="456"/>
                </a:lnTo>
                <a:lnTo>
                  <a:pt x="18" y="438"/>
                </a:lnTo>
                <a:lnTo>
                  <a:pt x="18" y="432"/>
                </a:lnTo>
                <a:lnTo>
                  <a:pt x="24" y="420"/>
                </a:lnTo>
                <a:lnTo>
                  <a:pt x="42" y="426"/>
                </a:lnTo>
                <a:lnTo>
                  <a:pt x="42" y="414"/>
                </a:lnTo>
                <a:lnTo>
                  <a:pt x="60" y="420"/>
                </a:lnTo>
                <a:lnTo>
                  <a:pt x="60" y="408"/>
                </a:lnTo>
                <a:lnTo>
                  <a:pt x="54" y="384"/>
                </a:lnTo>
                <a:lnTo>
                  <a:pt x="60" y="378"/>
                </a:lnTo>
                <a:lnTo>
                  <a:pt x="72" y="372"/>
                </a:lnTo>
                <a:lnTo>
                  <a:pt x="78" y="372"/>
                </a:lnTo>
                <a:lnTo>
                  <a:pt x="84" y="360"/>
                </a:lnTo>
                <a:lnTo>
                  <a:pt x="96" y="354"/>
                </a:lnTo>
                <a:lnTo>
                  <a:pt x="102" y="336"/>
                </a:lnTo>
                <a:lnTo>
                  <a:pt x="114" y="336"/>
                </a:lnTo>
                <a:lnTo>
                  <a:pt x="120" y="360"/>
                </a:lnTo>
                <a:lnTo>
                  <a:pt x="132" y="354"/>
                </a:lnTo>
                <a:lnTo>
                  <a:pt x="156" y="360"/>
                </a:lnTo>
                <a:lnTo>
                  <a:pt x="186" y="378"/>
                </a:lnTo>
                <a:lnTo>
                  <a:pt x="198" y="378"/>
                </a:lnTo>
                <a:lnTo>
                  <a:pt x="216" y="384"/>
                </a:lnTo>
                <a:lnTo>
                  <a:pt x="234" y="348"/>
                </a:lnTo>
                <a:lnTo>
                  <a:pt x="234" y="342"/>
                </a:lnTo>
                <a:lnTo>
                  <a:pt x="240" y="330"/>
                </a:lnTo>
                <a:lnTo>
                  <a:pt x="246" y="324"/>
                </a:lnTo>
                <a:lnTo>
                  <a:pt x="252" y="318"/>
                </a:lnTo>
                <a:lnTo>
                  <a:pt x="264" y="312"/>
                </a:lnTo>
                <a:lnTo>
                  <a:pt x="264" y="288"/>
                </a:lnTo>
                <a:lnTo>
                  <a:pt x="270" y="270"/>
                </a:lnTo>
                <a:lnTo>
                  <a:pt x="270" y="264"/>
                </a:lnTo>
                <a:lnTo>
                  <a:pt x="270" y="258"/>
                </a:lnTo>
                <a:lnTo>
                  <a:pt x="258" y="252"/>
                </a:lnTo>
                <a:lnTo>
                  <a:pt x="264" y="240"/>
                </a:lnTo>
                <a:lnTo>
                  <a:pt x="270" y="240"/>
                </a:lnTo>
                <a:lnTo>
                  <a:pt x="276" y="246"/>
                </a:lnTo>
                <a:lnTo>
                  <a:pt x="288" y="258"/>
                </a:lnTo>
                <a:lnTo>
                  <a:pt x="318" y="258"/>
                </a:lnTo>
                <a:lnTo>
                  <a:pt x="324" y="240"/>
                </a:lnTo>
                <a:lnTo>
                  <a:pt x="324" y="234"/>
                </a:lnTo>
                <a:lnTo>
                  <a:pt x="354" y="228"/>
                </a:lnTo>
                <a:lnTo>
                  <a:pt x="360" y="222"/>
                </a:lnTo>
                <a:lnTo>
                  <a:pt x="366" y="216"/>
                </a:lnTo>
                <a:lnTo>
                  <a:pt x="384" y="198"/>
                </a:lnTo>
                <a:lnTo>
                  <a:pt x="396" y="198"/>
                </a:lnTo>
                <a:lnTo>
                  <a:pt x="408" y="198"/>
                </a:lnTo>
                <a:lnTo>
                  <a:pt x="414" y="192"/>
                </a:lnTo>
                <a:lnTo>
                  <a:pt x="420" y="192"/>
                </a:lnTo>
                <a:lnTo>
                  <a:pt x="432" y="198"/>
                </a:lnTo>
                <a:lnTo>
                  <a:pt x="444" y="210"/>
                </a:lnTo>
                <a:lnTo>
                  <a:pt x="450" y="222"/>
                </a:lnTo>
                <a:lnTo>
                  <a:pt x="450" y="240"/>
                </a:lnTo>
                <a:lnTo>
                  <a:pt x="450" y="282"/>
                </a:lnTo>
                <a:lnTo>
                  <a:pt x="450" y="288"/>
                </a:lnTo>
                <a:lnTo>
                  <a:pt x="462" y="294"/>
                </a:lnTo>
                <a:lnTo>
                  <a:pt x="456" y="312"/>
                </a:lnTo>
                <a:lnTo>
                  <a:pt x="456" y="324"/>
                </a:lnTo>
                <a:lnTo>
                  <a:pt x="468" y="354"/>
                </a:lnTo>
                <a:lnTo>
                  <a:pt x="474" y="372"/>
                </a:lnTo>
                <a:lnTo>
                  <a:pt x="486" y="378"/>
                </a:lnTo>
                <a:lnTo>
                  <a:pt x="498" y="384"/>
                </a:lnTo>
                <a:lnTo>
                  <a:pt x="504" y="372"/>
                </a:lnTo>
                <a:lnTo>
                  <a:pt x="516" y="390"/>
                </a:lnTo>
                <a:lnTo>
                  <a:pt x="534" y="390"/>
                </a:lnTo>
                <a:lnTo>
                  <a:pt x="546" y="384"/>
                </a:lnTo>
                <a:lnTo>
                  <a:pt x="564" y="396"/>
                </a:lnTo>
                <a:lnTo>
                  <a:pt x="582" y="402"/>
                </a:lnTo>
                <a:lnTo>
                  <a:pt x="600" y="408"/>
                </a:lnTo>
                <a:lnTo>
                  <a:pt x="618" y="378"/>
                </a:lnTo>
                <a:lnTo>
                  <a:pt x="606" y="354"/>
                </a:lnTo>
                <a:lnTo>
                  <a:pt x="600" y="348"/>
                </a:lnTo>
                <a:lnTo>
                  <a:pt x="576" y="342"/>
                </a:lnTo>
                <a:lnTo>
                  <a:pt x="594" y="336"/>
                </a:lnTo>
                <a:lnTo>
                  <a:pt x="606" y="330"/>
                </a:lnTo>
                <a:lnTo>
                  <a:pt x="624" y="336"/>
                </a:lnTo>
                <a:lnTo>
                  <a:pt x="630" y="324"/>
                </a:lnTo>
                <a:lnTo>
                  <a:pt x="636" y="318"/>
                </a:lnTo>
                <a:lnTo>
                  <a:pt x="666" y="318"/>
                </a:lnTo>
                <a:lnTo>
                  <a:pt x="672" y="294"/>
                </a:lnTo>
                <a:lnTo>
                  <a:pt x="678" y="288"/>
                </a:lnTo>
                <a:lnTo>
                  <a:pt x="684" y="288"/>
                </a:lnTo>
                <a:lnTo>
                  <a:pt x="714" y="282"/>
                </a:lnTo>
                <a:lnTo>
                  <a:pt x="732" y="330"/>
                </a:lnTo>
                <a:lnTo>
                  <a:pt x="750" y="330"/>
                </a:lnTo>
                <a:lnTo>
                  <a:pt x="750" y="354"/>
                </a:lnTo>
                <a:lnTo>
                  <a:pt x="762" y="348"/>
                </a:lnTo>
                <a:lnTo>
                  <a:pt x="768" y="372"/>
                </a:lnTo>
                <a:lnTo>
                  <a:pt x="768" y="384"/>
                </a:lnTo>
                <a:lnTo>
                  <a:pt x="786" y="372"/>
                </a:lnTo>
                <a:lnTo>
                  <a:pt x="810" y="372"/>
                </a:lnTo>
                <a:lnTo>
                  <a:pt x="798" y="396"/>
                </a:lnTo>
                <a:lnTo>
                  <a:pt x="816" y="390"/>
                </a:lnTo>
                <a:lnTo>
                  <a:pt x="840" y="384"/>
                </a:lnTo>
                <a:lnTo>
                  <a:pt x="858" y="396"/>
                </a:lnTo>
                <a:lnTo>
                  <a:pt x="864" y="420"/>
                </a:lnTo>
                <a:lnTo>
                  <a:pt x="858" y="438"/>
                </a:lnTo>
                <a:lnTo>
                  <a:pt x="852" y="468"/>
                </a:lnTo>
                <a:lnTo>
                  <a:pt x="858" y="480"/>
                </a:lnTo>
                <a:lnTo>
                  <a:pt x="858" y="498"/>
                </a:lnTo>
                <a:lnTo>
                  <a:pt x="864" y="510"/>
                </a:lnTo>
                <a:lnTo>
                  <a:pt x="882" y="528"/>
                </a:lnTo>
                <a:lnTo>
                  <a:pt x="882" y="540"/>
                </a:lnTo>
                <a:lnTo>
                  <a:pt x="894" y="546"/>
                </a:lnTo>
                <a:lnTo>
                  <a:pt x="906" y="552"/>
                </a:lnTo>
                <a:lnTo>
                  <a:pt x="918" y="558"/>
                </a:lnTo>
                <a:lnTo>
                  <a:pt x="936" y="576"/>
                </a:lnTo>
                <a:lnTo>
                  <a:pt x="942" y="588"/>
                </a:lnTo>
                <a:lnTo>
                  <a:pt x="966" y="582"/>
                </a:lnTo>
                <a:lnTo>
                  <a:pt x="1002" y="570"/>
                </a:lnTo>
                <a:lnTo>
                  <a:pt x="996" y="582"/>
                </a:lnTo>
                <a:lnTo>
                  <a:pt x="996" y="588"/>
                </a:lnTo>
                <a:lnTo>
                  <a:pt x="996" y="594"/>
                </a:lnTo>
                <a:lnTo>
                  <a:pt x="996" y="606"/>
                </a:lnTo>
                <a:lnTo>
                  <a:pt x="1032" y="600"/>
                </a:lnTo>
                <a:lnTo>
                  <a:pt x="1050" y="588"/>
                </a:lnTo>
                <a:lnTo>
                  <a:pt x="1068" y="576"/>
                </a:lnTo>
                <a:lnTo>
                  <a:pt x="1074" y="558"/>
                </a:lnTo>
                <a:lnTo>
                  <a:pt x="1080" y="528"/>
                </a:lnTo>
                <a:lnTo>
                  <a:pt x="1092" y="516"/>
                </a:lnTo>
                <a:lnTo>
                  <a:pt x="1098" y="510"/>
                </a:lnTo>
                <a:lnTo>
                  <a:pt x="1128" y="504"/>
                </a:lnTo>
                <a:lnTo>
                  <a:pt x="1134" y="498"/>
                </a:lnTo>
                <a:lnTo>
                  <a:pt x="1140" y="486"/>
                </a:lnTo>
                <a:lnTo>
                  <a:pt x="1152" y="468"/>
                </a:lnTo>
                <a:lnTo>
                  <a:pt x="1152" y="462"/>
                </a:lnTo>
                <a:lnTo>
                  <a:pt x="1158" y="450"/>
                </a:lnTo>
                <a:lnTo>
                  <a:pt x="1164" y="444"/>
                </a:lnTo>
                <a:lnTo>
                  <a:pt x="1170" y="420"/>
                </a:lnTo>
                <a:lnTo>
                  <a:pt x="1188" y="408"/>
                </a:lnTo>
                <a:lnTo>
                  <a:pt x="1206" y="396"/>
                </a:lnTo>
                <a:lnTo>
                  <a:pt x="1242" y="372"/>
                </a:lnTo>
                <a:lnTo>
                  <a:pt x="1272" y="348"/>
                </a:lnTo>
                <a:lnTo>
                  <a:pt x="1278" y="336"/>
                </a:lnTo>
                <a:lnTo>
                  <a:pt x="1290" y="324"/>
                </a:lnTo>
                <a:lnTo>
                  <a:pt x="1314" y="306"/>
                </a:lnTo>
                <a:lnTo>
                  <a:pt x="1326" y="300"/>
                </a:lnTo>
                <a:lnTo>
                  <a:pt x="1332" y="276"/>
                </a:lnTo>
                <a:lnTo>
                  <a:pt x="1332" y="270"/>
                </a:lnTo>
                <a:lnTo>
                  <a:pt x="1326" y="264"/>
                </a:lnTo>
                <a:lnTo>
                  <a:pt x="1332" y="264"/>
                </a:lnTo>
                <a:lnTo>
                  <a:pt x="1338" y="264"/>
                </a:lnTo>
                <a:lnTo>
                  <a:pt x="1344" y="264"/>
                </a:lnTo>
                <a:lnTo>
                  <a:pt x="1356" y="258"/>
                </a:lnTo>
                <a:lnTo>
                  <a:pt x="1368" y="246"/>
                </a:lnTo>
                <a:lnTo>
                  <a:pt x="1374" y="240"/>
                </a:lnTo>
                <a:lnTo>
                  <a:pt x="1374" y="234"/>
                </a:lnTo>
                <a:lnTo>
                  <a:pt x="1368" y="222"/>
                </a:lnTo>
                <a:lnTo>
                  <a:pt x="1362" y="210"/>
                </a:lnTo>
                <a:lnTo>
                  <a:pt x="1362" y="204"/>
                </a:lnTo>
                <a:lnTo>
                  <a:pt x="1380" y="186"/>
                </a:lnTo>
                <a:lnTo>
                  <a:pt x="1386" y="180"/>
                </a:lnTo>
                <a:lnTo>
                  <a:pt x="1380" y="168"/>
                </a:lnTo>
                <a:lnTo>
                  <a:pt x="1374" y="144"/>
                </a:lnTo>
                <a:lnTo>
                  <a:pt x="1374" y="126"/>
                </a:lnTo>
                <a:lnTo>
                  <a:pt x="1386" y="114"/>
                </a:lnTo>
                <a:lnTo>
                  <a:pt x="1392" y="114"/>
                </a:lnTo>
                <a:lnTo>
                  <a:pt x="1404" y="108"/>
                </a:lnTo>
                <a:lnTo>
                  <a:pt x="1428" y="102"/>
                </a:lnTo>
                <a:lnTo>
                  <a:pt x="1434" y="90"/>
                </a:lnTo>
                <a:lnTo>
                  <a:pt x="1434" y="78"/>
                </a:lnTo>
                <a:lnTo>
                  <a:pt x="1434" y="66"/>
                </a:lnTo>
                <a:lnTo>
                  <a:pt x="1434" y="54"/>
                </a:lnTo>
                <a:lnTo>
                  <a:pt x="1428" y="36"/>
                </a:lnTo>
                <a:lnTo>
                  <a:pt x="1434" y="24"/>
                </a:lnTo>
                <a:lnTo>
                  <a:pt x="1446" y="12"/>
                </a:lnTo>
                <a:lnTo>
                  <a:pt x="1458" y="0"/>
                </a:lnTo>
                <a:lnTo>
                  <a:pt x="1476" y="0"/>
                </a:lnTo>
                <a:lnTo>
                  <a:pt x="1482" y="6"/>
                </a:lnTo>
                <a:lnTo>
                  <a:pt x="1482" y="18"/>
                </a:lnTo>
                <a:lnTo>
                  <a:pt x="1488" y="24"/>
                </a:lnTo>
                <a:lnTo>
                  <a:pt x="1500" y="24"/>
                </a:lnTo>
                <a:lnTo>
                  <a:pt x="1512" y="24"/>
                </a:lnTo>
                <a:lnTo>
                  <a:pt x="1524" y="24"/>
                </a:lnTo>
                <a:lnTo>
                  <a:pt x="1524" y="36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81" name="Freeform 25"/>
          <p:cNvSpPr>
            <a:spLocks/>
          </p:cNvSpPr>
          <p:nvPr/>
        </p:nvSpPr>
        <p:spPr bwMode="gray">
          <a:xfrm>
            <a:off x="4391025" y="1841500"/>
            <a:ext cx="1527175" cy="1382713"/>
          </a:xfrm>
          <a:custGeom>
            <a:avLst/>
            <a:gdLst>
              <a:gd name="T0" fmla="*/ 111338 w 1584"/>
              <a:gd name="T1" fmla="*/ 69531 h 1434"/>
              <a:gd name="T2" fmla="*/ 111338 w 1584"/>
              <a:gd name="T3" fmla="*/ 77711 h 1434"/>
              <a:gd name="T4" fmla="*/ 108063 w 1584"/>
              <a:gd name="T5" fmla="*/ 82619 h 1434"/>
              <a:gd name="T6" fmla="*/ 95783 w 1584"/>
              <a:gd name="T7" fmla="*/ 92435 h 1434"/>
              <a:gd name="T8" fmla="*/ 90053 w 1584"/>
              <a:gd name="T9" fmla="*/ 98979 h 1434"/>
              <a:gd name="T10" fmla="*/ 84322 w 1584"/>
              <a:gd name="T11" fmla="*/ 101433 h 1434"/>
              <a:gd name="T12" fmla="*/ 73680 w 1584"/>
              <a:gd name="T13" fmla="*/ 97343 h 1434"/>
              <a:gd name="T14" fmla="*/ 69586 w 1584"/>
              <a:gd name="T15" fmla="*/ 89163 h 1434"/>
              <a:gd name="T16" fmla="*/ 63037 w 1584"/>
              <a:gd name="T17" fmla="*/ 80983 h 1434"/>
              <a:gd name="T18" fmla="*/ 54032 w 1584"/>
              <a:gd name="T19" fmla="*/ 85073 h 1434"/>
              <a:gd name="T20" fmla="*/ 49938 w 1584"/>
              <a:gd name="T21" fmla="*/ 89163 h 1434"/>
              <a:gd name="T22" fmla="*/ 45026 w 1584"/>
              <a:gd name="T23" fmla="*/ 81801 h 1434"/>
              <a:gd name="T24" fmla="*/ 40933 w 1584"/>
              <a:gd name="T25" fmla="*/ 74439 h 1434"/>
              <a:gd name="T26" fmla="*/ 31928 w 1584"/>
              <a:gd name="T27" fmla="*/ 79347 h 1434"/>
              <a:gd name="T28" fmla="*/ 30290 w 1584"/>
              <a:gd name="T29" fmla="*/ 82619 h 1434"/>
              <a:gd name="T30" fmla="*/ 22104 w 1584"/>
              <a:gd name="T31" fmla="*/ 86709 h 1434"/>
              <a:gd name="T32" fmla="*/ 15555 w 1584"/>
              <a:gd name="T33" fmla="*/ 87527 h 1434"/>
              <a:gd name="T34" fmla="*/ 11461 w 1584"/>
              <a:gd name="T35" fmla="*/ 89163 h 1434"/>
              <a:gd name="T36" fmla="*/ 7368 w 1584"/>
              <a:gd name="T37" fmla="*/ 82619 h 1434"/>
              <a:gd name="T38" fmla="*/ 3275 w 1584"/>
              <a:gd name="T39" fmla="*/ 78529 h 1434"/>
              <a:gd name="T40" fmla="*/ 0 w 1584"/>
              <a:gd name="T41" fmla="*/ 71167 h 1434"/>
              <a:gd name="T42" fmla="*/ 5731 w 1584"/>
              <a:gd name="T43" fmla="*/ 64623 h 1434"/>
              <a:gd name="T44" fmla="*/ 5731 w 1584"/>
              <a:gd name="T45" fmla="*/ 59715 h 1434"/>
              <a:gd name="T46" fmla="*/ 8187 w 1584"/>
              <a:gd name="T47" fmla="*/ 59715 h 1434"/>
              <a:gd name="T48" fmla="*/ 11461 w 1584"/>
              <a:gd name="T49" fmla="*/ 54807 h 1434"/>
              <a:gd name="T50" fmla="*/ 15555 w 1584"/>
              <a:gd name="T51" fmla="*/ 48263 h 1434"/>
              <a:gd name="T52" fmla="*/ 18011 w 1584"/>
              <a:gd name="T53" fmla="*/ 47445 h 1434"/>
              <a:gd name="T54" fmla="*/ 22104 w 1584"/>
              <a:gd name="T55" fmla="*/ 46627 h 1434"/>
              <a:gd name="T56" fmla="*/ 21285 w 1584"/>
              <a:gd name="T57" fmla="*/ 40901 h 1434"/>
              <a:gd name="T58" fmla="*/ 30290 w 1584"/>
              <a:gd name="T59" fmla="*/ 40901 h 1434"/>
              <a:gd name="T60" fmla="*/ 32746 w 1584"/>
              <a:gd name="T61" fmla="*/ 35993 h 1434"/>
              <a:gd name="T62" fmla="*/ 35202 w 1584"/>
              <a:gd name="T63" fmla="*/ 27812 h 1434"/>
              <a:gd name="T64" fmla="*/ 35202 w 1584"/>
              <a:gd name="T65" fmla="*/ 22904 h 1434"/>
              <a:gd name="T66" fmla="*/ 31928 w 1584"/>
              <a:gd name="T67" fmla="*/ 18814 h 1434"/>
              <a:gd name="T68" fmla="*/ 33565 w 1584"/>
              <a:gd name="T69" fmla="*/ 14724 h 1434"/>
              <a:gd name="T70" fmla="*/ 38477 w 1584"/>
              <a:gd name="T71" fmla="*/ 9816 h 1434"/>
              <a:gd name="T72" fmla="*/ 43389 w 1584"/>
              <a:gd name="T73" fmla="*/ 7362 h 1434"/>
              <a:gd name="T74" fmla="*/ 49938 w 1584"/>
              <a:gd name="T75" fmla="*/ 9816 h 1434"/>
              <a:gd name="T76" fmla="*/ 54850 w 1584"/>
              <a:gd name="T77" fmla="*/ 12270 h 1434"/>
              <a:gd name="T78" fmla="*/ 58944 w 1584"/>
              <a:gd name="T79" fmla="*/ 10634 h 1434"/>
              <a:gd name="T80" fmla="*/ 60581 w 1584"/>
              <a:gd name="T81" fmla="*/ 5726 h 1434"/>
              <a:gd name="T82" fmla="*/ 65493 w 1584"/>
              <a:gd name="T83" fmla="*/ 8180 h 1434"/>
              <a:gd name="T84" fmla="*/ 68768 w 1584"/>
              <a:gd name="T85" fmla="*/ 8180 h 1434"/>
              <a:gd name="T86" fmla="*/ 72861 w 1584"/>
              <a:gd name="T87" fmla="*/ 818 h 1434"/>
              <a:gd name="T88" fmla="*/ 78592 w 1584"/>
              <a:gd name="T89" fmla="*/ 1636 h 1434"/>
              <a:gd name="T90" fmla="*/ 81866 w 1584"/>
              <a:gd name="T91" fmla="*/ 9816 h 1434"/>
              <a:gd name="T92" fmla="*/ 80229 w 1584"/>
              <a:gd name="T93" fmla="*/ 13906 h 1434"/>
              <a:gd name="T94" fmla="*/ 81048 w 1584"/>
              <a:gd name="T95" fmla="*/ 19632 h 1434"/>
              <a:gd name="T96" fmla="*/ 79410 w 1584"/>
              <a:gd name="T97" fmla="*/ 27812 h 1434"/>
              <a:gd name="T98" fmla="*/ 83503 w 1584"/>
              <a:gd name="T99" fmla="*/ 35175 h 1434"/>
              <a:gd name="T100" fmla="*/ 82685 w 1584"/>
              <a:gd name="T101" fmla="*/ 38447 h 1434"/>
              <a:gd name="T102" fmla="*/ 87597 w 1584"/>
              <a:gd name="T103" fmla="*/ 44991 h 1434"/>
              <a:gd name="T104" fmla="*/ 90871 w 1584"/>
              <a:gd name="T105" fmla="*/ 51535 h 1434"/>
              <a:gd name="T106" fmla="*/ 97421 w 1584"/>
              <a:gd name="T107" fmla="*/ 56443 h 1434"/>
              <a:gd name="T108" fmla="*/ 99877 w 1584"/>
              <a:gd name="T109" fmla="*/ 62169 h 1434"/>
              <a:gd name="T110" fmla="*/ 108063 w 1584"/>
              <a:gd name="T111" fmla="*/ 62169 h 1434"/>
              <a:gd name="T112" fmla="*/ 115431 w 1584"/>
              <a:gd name="T113" fmla="*/ 63805 h 143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84" h="1434">
                <a:moveTo>
                  <a:pt x="1584" y="882"/>
                </a:moveTo>
                <a:lnTo>
                  <a:pt x="1584" y="894"/>
                </a:lnTo>
                <a:lnTo>
                  <a:pt x="1584" y="906"/>
                </a:lnTo>
                <a:lnTo>
                  <a:pt x="1584" y="918"/>
                </a:lnTo>
                <a:lnTo>
                  <a:pt x="1578" y="930"/>
                </a:lnTo>
                <a:lnTo>
                  <a:pt x="1554" y="936"/>
                </a:lnTo>
                <a:lnTo>
                  <a:pt x="1542" y="942"/>
                </a:lnTo>
                <a:lnTo>
                  <a:pt x="1536" y="942"/>
                </a:lnTo>
                <a:lnTo>
                  <a:pt x="1524" y="954"/>
                </a:lnTo>
                <a:lnTo>
                  <a:pt x="1524" y="972"/>
                </a:lnTo>
                <a:lnTo>
                  <a:pt x="1530" y="996"/>
                </a:lnTo>
                <a:lnTo>
                  <a:pt x="1536" y="1008"/>
                </a:lnTo>
                <a:lnTo>
                  <a:pt x="1530" y="1014"/>
                </a:lnTo>
                <a:lnTo>
                  <a:pt x="1512" y="1032"/>
                </a:lnTo>
                <a:lnTo>
                  <a:pt x="1512" y="1038"/>
                </a:lnTo>
                <a:lnTo>
                  <a:pt x="1518" y="1050"/>
                </a:lnTo>
                <a:lnTo>
                  <a:pt x="1524" y="1062"/>
                </a:lnTo>
                <a:lnTo>
                  <a:pt x="1524" y="1068"/>
                </a:lnTo>
                <a:lnTo>
                  <a:pt x="1518" y="1074"/>
                </a:lnTo>
                <a:lnTo>
                  <a:pt x="1506" y="1086"/>
                </a:lnTo>
                <a:lnTo>
                  <a:pt x="1494" y="1092"/>
                </a:lnTo>
                <a:lnTo>
                  <a:pt x="1488" y="1092"/>
                </a:lnTo>
                <a:lnTo>
                  <a:pt x="1482" y="1092"/>
                </a:lnTo>
                <a:lnTo>
                  <a:pt x="1476" y="1092"/>
                </a:lnTo>
                <a:lnTo>
                  <a:pt x="1482" y="1098"/>
                </a:lnTo>
                <a:lnTo>
                  <a:pt x="1482" y="1104"/>
                </a:lnTo>
                <a:lnTo>
                  <a:pt x="1476" y="1128"/>
                </a:lnTo>
                <a:lnTo>
                  <a:pt x="1464" y="1134"/>
                </a:lnTo>
                <a:lnTo>
                  <a:pt x="1440" y="1152"/>
                </a:lnTo>
                <a:lnTo>
                  <a:pt x="1428" y="1164"/>
                </a:lnTo>
                <a:lnTo>
                  <a:pt x="1422" y="1176"/>
                </a:lnTo>
                <a:lnTo>
                  <a:pt x="1392" y="1200"/>
                </a:lnTo>
                <a:lnTo>
                  <a:pt x="1356" y="1224"/>
                </a:lnTo>
                <a:lnTo>
                  <a:pt x="1338" y="1236"/>
                </a:lnTo>
                <a:lnTo>
                  <a:pt x="1320" y="1248"/>
                </a:lnTo>
                <a:lnTo>
                  <a:pt x="1314" y="1272"/>
                </a:lnTo>
                <a:lnTo>
                  <a:pt x="1308" y="1278"/>
                </a:lnTo>
                <a:lnTo>
                  <a:pt x="1302" y="1290"/>
                </a:lnTo>
                <a:lnTo>
                  <a:pt x="1302" y="1296"/>
                </a:lnTo>
                <a:lnTo>
                  <a:pt x="1290" y="1314"/>
                </a:lnTo>
                <a:lnTo>
                  <a:pt x="1284" y="1326"/>
                </a:lnTo>
                <a:lnTo>
                  <a:pt x="1278" y="1332"/>
                </a:lnTo>
                <a:lnTo>
                  <a:pt x="1248" y="1338"/>
                </a:lnTo>
                <a:lnTo>
                  <a:pt x="1242" y="1344"/>
                </a:lnTo>
                <a:lnTo>
                  <a:pt x="1230" y="1356"/>
                </a:lnTo>
                <a:lnTo>
                  <a:pt x="1224" y="1386"/>
                </a:lnTo>
                <a:lnTo>
                  <a:pt x="1218" y="1404"/>
                </a:lnTo>
                <a:lnTo>
                  <a:pt x="1200" y="1416"/>
                </a:lnTo>
                <a:lnTo>
                  <a:pt x="1182" y="1428"/>
                </a:lnTo>
                <a:lnTo>
                  <a:pt x="1146" y="1434"/>
                </a:lnTo>
                <a:lnTo>
                  <a:pt x="1146" y="1422"/>
                </a:lnTo>
                <a:lnTo>
                  <a:pt x="1146" y="1416"/>
                </a:lnTo>
                <a:lnTo>
                  <a:pt x="1146" y="1410"/>
                </a:lnTo>
                <a:lnTo>
                  <a:pt x="1152" y="1398"/>
                </a:lnTo>
                <a:lnTo>
                  <a:pt x="1116" y="1410"/>
                </a:lnTo>
                <a:lnTo>
                  <a:pt x="1092" y="1416"/>
                </a:lnTo>
                <a:lnTo>
                  <a:pt x="1086" y="1404"/>
                </a:lnTo>
                <a:lnTo>
                  <a:pt x="1068" y="1386"/>
                </a:lnTo>
                <a:lnTo>
                  <a:pt x="1056" y="1380"/>
                </a:lnTo>
                <a:lnTo>
                  <a:pt x="1044" y="1374"/>
                </a:lnTo>
                <a:lnTo>
                  <a:pt x="1032" y="1368"/>
                </a:lnTo>
                <a:lnTo>
                  <a:pt x="1032" y="1356"/>
                </a:lnTo>
                <a:lnTo>
                  <a:pt x="1014" y="1338"/>
                </a:lnTo>
                <a:lnTo>
                  <a:pt x="1008" y="1326"/>
                </a:lnTo>
                <a:lnTo>
                  <a:pt x="1008" y="1308"/>
                </a:lnTo>
                <a:lnTo>
                  <a:pt x="1002" y="1296"/>
                </a:lnTo>
                <a:lnTo>
                  <a:pt x="1008" y="1266"/>
                </a:lnTo>
                <a:lnTo>
                  <a:pt x="1014" y="1248"/>
                </a:lnTo>
                <a:lnTo>
                  <a:pt x="1008" y="1224"/>
                </a:lnTo>
                <a:lnTo>
                  <a:pt x="990" y="1212"/>
                </a:lnTo>
                <a:lnTo>
                  <a:pt x="966" y="1218"/>
                </a:lnTo>
                <a:lnTo>
                  <a:pt x="948" y="1224"/>
                </a:lnTo>
                <a:lnTo>
                  <a:pt x="960" y="1200"/>
                </a:lnTo>
                <a:lnTo>
                  <a:pt x="936" y="1200"/>
                </a:lnTo>
                <a:lnTo>
                  <a:pt x="918" y="1212"/>
                </a:lnTo>
                <a:lnTo>
                  <a:pt x="918" y="1200"/>
                </a:lnTo>
                <a:lnTo>
                  <a:pt x="912" y="1176"/>
                </a:lnTo>
                <a:lnTo>
                  <a:pt x="900" y="1182"/>
                </a:lnTo>
                <a:lnTo>
                  <a:pt x="900" y="1158"/>
                </a:lnTo>
                <a:lnTo>
                  <a:pt x="882" y="1158"/>
                </a:lnTo>
                <a:lnTo>
                  <a:pt x="864" y="1110"/>
                </a:lnTo>
                <a:lnTo>
                  <a:pt x="834" y="1116"/>
                </a:lnTo>
                <a:lnTo>
                  <a:pt x="828" y="1116"/>
                </a:lnTo>
                <a:lnTo>
                  <a:pt x="822" y="1122"/>
                </a:lnTo>
                <a:lnTo>
                  <a:pt x="816" y="1146"/>
                </a:lnTo>
                <a:lnTo>
                  <a:pt x="786" y="1146"/>
                </a:lnTo>
                <a:lnTo>
                  <a:pt x="780" y="1152"/>
                </a:lnTo>
                <a:lnTo>
                  <a:pt x="774" y="1164"/>
                </a:lnTo>
                <a:lnTo>
                  <a:pt x="756" y="1158"/>
                </a:lnTo>
                <a:lnTo>
                  <a:pt x="744" y="1164"/>
                </a:lnTo>
                <a:lnTo>
                  <a:pt x="726" y="1170"/>
                </a:lnTo>
                <a:lnTo>
                  <a:pt x="750" y="1176"/>
                </a:lnTo>
                <a:lnTo>
                  <a:pt x="756" y="1182"/>
                </a:lnTo>
                <a:lnTo>
                  <a:pt x="768" y="1206"/>
                </a:lnTo>
                <a:lnTo>
                  <a:pt x="750" y="1236"/>
                </a:lnTo>
                <a:lnTo>
                  <a:pt x="732" y="1230"/>
                </a:lnTo>
                <a:lnTo>
                  <a:pt x="714" y="1224"/>
                </a:lnTo>
                <a:lnTo>
                  <a:pt x="696" y="1212"/>
                </a:lnTo>
                <a:lnTo>
                  <a:pt x="684" y="1218"/>
                </a:lnTo>
                <a:lnTo>
                  <a:pt x="666" y="1218"/>
                </a:lnTo>
                <a:lnTo>
                  <a:pt x="654" y="1200"/>
                </a:lnTo>
                <a:lnTo>
                  <a:pt x="648" y="1212"/>
                </a:lnTo>
                <a:lnTo>
                  <a:pt x="636" y="1206"/>
                </a:lnTo>
                <a:lnTo>
                  <a:pt x="624" y="1200"/>
                </a:lnTo>
                <a:lnTo>
                  <a:pt x="618" y="1182"/>
                </a:lnTo>
                <a:lnTo>
                  <a:pt x="606" y="1152"/>
                </a:lnTo>
                <a:lnTo>
                  <a:pt x="606" y="1140"/>
                </a:lnTo>
                <a:lnTo>
                  <a:pt x="612" y="1122"/>
                </a:lnTo>
                <a:lnTo>
                  <a:pt x="600" y="1116"/>
                </a:lnTo>
                <a:lnTo>
                  <a:pt x="600" y="1110"/>
                </a:lnTo>
                <a:lnTo>
                  <a:pt x="600" y="1068"/>
                </a:lnTo>
                <a:lnTo>
                  <a:pt x="600" y="1050"/>
                </a:lnTo>
                <a:lnTo>
                  <a:pt x="594" y="1038"/>
                </a:lnTo>
                <a:lnTo>
                  <a:pt x="582" y="1026"/>
                </a:lnTo>
                <a:lnTo>
                  <a:pt x="570" y="1020"/>
                </a:lnTo>
                <a:lnTo>
                  <a:pt x="564" y="1020"/>
                </a:lnTo>
                <a:lnTo>
                  <a:pt x="558" y="1026"/>
                </a:lnTo>
                <a:lnTo>
                  <a:pt x="546" y="1026"/>
                </a:lnTo>
                <a:lnTo>
                  <a:pt x="534" y="1026"/>
                </a:lnTo>
                <a:lnTo>
                  <a:pt x="516" y="1044"/>
                </a:lnTo>
                <a:lnTo>
                  <a:pt x="510" y="1050"/>
                </a:lnTo>
                <a:lnTo>
                  <a:pt x="504" y="1056"/>
                </a:lnTo>
                <a:lnTo>
                  <a:pt x="474" y="1062"/>
                </a:lnTo>
                <a:lnTo>
                  <a:pt x="474" y="1068"/>
                </a:lnTo>
                <a:lnTo>
                  <a:pt x="468" y="1086"/>
                </a:lnTo>
                <a:lnTo>
                  <a:pt x="438" y="1086"/>
                </a:lnTo>
                <a:lnTo>
                  <a:pt x="426" y="1074"/>
                </a:lnTo>
                <a:lnTo>
                  <a:pt x="420" y="1068"/>
                </a:lnTo>
                <a:lnTo>
                  <a:pt x="414" y="1068"/>
                </a:lnTo>
                <a:lnTo>
                  <a:pt x="408" y="1080"/>
                </a:lnTo>
                <a:lnTo>
                  <a:pt x="420" y="1086"/>
                </a:lnTo>
                <a:lnTo>
                  <a:pt x="420" y="1092"/>
                </a:lnTo>
                <a:lnTo>
                  <a:pt x="420" y="1098"/>
                </a:lnTo>
                <a:lnTo>
                  <a:pt x="414" y="1116"/>
                </a:lnTo>
                <a:lnTo>
                  <a:pt x="414" y="1140"/>
                </a:lnTo>
                <a:lnTo>
                  <a:pt x="402" y="1146"/>
                </a:lnTo>
                <a:lnTo>
                  <a:pt x="396" y="1152"/>
                </a:lnTo>
                <a:lnTo>
                  <a:pt x="390" y="1158"/>
                </a:lnTo>
                <a:lnTo>
                  <a:pt x="384" y="1170"/>
                </a:lnTo>
                <a:lnTo>
                  <a:pt x="384" y="1176"/>
                </a:lnTo>
                <a:lnTo>
                  <a:pt x="366" y="1212"/>
                </a:lnTo>
                <a:lnTo>
                  <a:pt x="348" y="1206"/>
                </a:lnTo>
                <a:lnTo>
                  <a:pt x="336" y="1206"/>
                </a:lnTo>
                <a:lnTo>
                  <a:pt x="306" y="1188"/>
                </a:lnTo>
                <a:lnTo>
                  <a:pt x="282" y="1182"/>
                </a:lnTo>
                <a:lnTo>
                  <a:pt x="270" y="1188"/>
                </a:lnTo>
                <a:lnTo>
                  <a:pt x="264" y="1164"/>
                </a:lnTo>
                <a:lnTo>
                  <a:pt x="252" y="1164"/>
                </a:lnTo>
                <a:lnTo>
                  <a:pt x="246" y="1182"/>
                </a:lnTo>
                <a:lnTo>
                  <a:pt x="234" y="1188"/>
                </a:lnTo>
                <a:lnTo>
                  <a:pt x="228" y="1200"/>
                </a:lnTo>
                <a:lnTo>
                  <a:pt x="222" y="1200"/>
                </a:lnTo>
                <a:lnTo>
                  <a:pt x="210" y="1206"/>
                </a:lnTo>
                <a:lnTo>
                  <a:pt x="204" y="1212"/>
                </a:lnTo>
                <a:lnTo>
                  <a:pt x="210" y="1236"/>
                </a:lnTo>
                <a:lnTo>
                  <a:pt x="210" y="1248"/>
                </a:lnTo>
                <a:lnTo>
                  <a:pt x="192" y="1242"/>
                </a:lnTo>
                <a:lnTo>
                  <a:pt x="192" y="1254"/>
                </a:lnTo>
                <a:lnTo>
                  <a:pt x="174" y="1248"/>
                </a:lnTo>
                <a:lnTo>
                  <a:pt x="168" y="1260"/>
                </a:lnTo>
                <a:lnTo>
                  <a:pt x="144" y="1242"/>
                </a:lnTo>
                <a:lnTo>
                  <a:pt x="156" y="1224"/>
                </a:lnTo>
                <a:lnTo>
                  <a:pt x="156" y="1218"/>
                </a:lnTo>
                <a:lnTo>
                  <a:pt x="156" y="1212"/>
                </a:lnTo>
                <a:lnTo>
                  <a:pt x="138" y="1200"/>
                </a:lnTo>
                <a:lnTo>
                  <a:pt x="126" y="1194"/>
                </a:lnTo>
                <a:lnTo>
                  <a:pt x="120" y="1182"/>
                </a:lnTo>
                <a:lnTo>
                  <a:pt x="120" y="1164"/>
                </a:lnTo>
                <a:lnTo>
                  <a:pt x="108" y="1164"/>
                </a:lnTo>
                <a:lnTo>
                  <a:pt x="102" y="1146"/>
                </a:lnTo>
                <a:lnTo>
                  <a:pt x="102" y="1140"/>
                </a:lnTo>
                <a:lnTo>
                  <a:pt x="84" y="1134"/>
                </a:lnTo>
                <a:lnTo>
                  <a:pt x="72" y="1128"/>
                </a:lnTo>
                <a:lnTo>
                  <a:pt x="66" y="1128"/>
                </a:lnTo>
                <a:lnTo>
                  <a:pt x="54" y="1116"/>
                </a:lnTo>
                <a:lnTo>
                  <a:pt x="54" y="1110"/>
                </a:lnTo>
                <a:lnTo>
                  <a:pt x="54" y="1104"/>
                </a:lnTo>
                <a:lnTo>
                  <a:pt x="54" y="1098"/>
                </a:lnTo>
                <a:lnTo>
                  <a:pt x="48" y="1086"/>
                </a:lnTo>
                <a:lnTo>
                  <a:pt x="42" y="1074"/>
                </a:lnTo>
                <a:lnTo>
                  <a:pt x="36" y="1068"/>
                </a:lnTo>
                <a:lnTo>
                  <a:pt x="36" y="1062"/>
                </a:lnTo>
                <a:lnTo>
                  <a:pt x="48" y="1050"/>
                </a:lnTo>
                <a:lnTo>
                  <a:pt x="42" y="1038"/>
                </a:lnTo>
                <a:lnTo>
                  <a:pt x="42" y="1026"/>
                </a:lnTo>
                <a:lnTo>
                  <a:pt x="42" y="1008"/>
                </a:lnTo>
                <a:lnTo>
                  <a:pt x="18" y="990"/>
                </a:lnTo>
                <a:lnTo>
                  <a:pt x="6" y="978"/>
                </a:lnTo>
                <a:lnTo>
                  <a:pt x="0" y="972"/>
                </a:lnTo>
                <a:lnTo>
                  <a:pt x="12" y="948"/>
                </a:lnTo>
                <a:lnTo>
                  <a:pt x="48" y="918"/>
                </a:lnTo>
                <a:lnTo>
                  <a:pt x="54" y="918"/>
                </a:lnTo>
                <a:lnTo>
                  <a:pt x="72" y="930"/>
                </a:lnTo>
                <a:lnTo>
                  <a:pt x="90" y="918"/>
                </a:lnTo>
                <a:lnTo>
                  <a:pt x="78" y="906"/>
                </a:lnTo>
                <a:lnTo>
                  <a:pt x="84" y="900"/>
                </a:lnTo>
                <a:lnTo>
                  <a:pt x="84" y="894"/>
                </a:lnTo>
                <a:lnTo>
                  <a:pt x="78" y="888"/>
                </a:lnTo>
                <a:lnTo>
                  <a:pt x="72" y="876"/>
                </a:lnTo>
                <a:lnTo>
                  <a:pt x="72" y="864"/>
                </a:lnTo>
                <a:lnTo>
                  <a:pt x="72" y="852"/>
                </a:lnTo>
                <a:lnTo>
                  <a:pt x="60" y="846"/>
                </a:lnTo>
                <a:lnTo>
                  <a:pt x="54" y="846"/>
                </a:lnTo>
                <a:lnTo>
                  <a:pt x="48" y="834"/>
                </a:lnTo>
                <a:lnTo>
                  <a:pt x="54" y="828"/>
                </a:lnTo>
                <a:lnTo>
                  <a:pt x="66" y="822"/>
                </a:lnTo>
                <a:lnTo>
                  <a:pt x="72" y="822"/>
                </a:lnTo>
                <a:lnTo>
                  <a:pt x="72" y="828"/>
                </a:lnTo>
                <a:lnTo>
                  <a:pt x="78" y="834"/>
                </a:lnTo>
                <a:lnTo>
                  <a:pt x="84" y="834"/>
                </a:lnTo>
                <a:lnTo>
                  <a:pt x="90" y="822"/>
                </a:lnTo>
                <a:lnTo>
                  <a:pt x="90" y="816"/>
                </a:lnTo>
                <a:lnTo>
                  <a:pt x="96" y="816"/>
                </a:lnTo>
                <a:lnTo>
                  <a:pt x="102" y="816"/>
                </a:lnTo>
                <a:lnTo>
                  <a:pt x="108" y="816"/>
                </a:lnTo>
                <a:lnTo>
                  <a:pt x="114" y="816"/>
                </a:lnTo>
                <a:lnTo>
                  <a:pt x="114" y="810"/>
                </a:lnTo>
                <a:lnTo>
                  <a:pt x="120" y="798"/>
                </a:lnTo>
                <a:lnTo>
                  <a:pt x="138" y="810"/>
                </a:lnTo>
                <a:lnTo>
                  <a:pt x="156" y="798"/>
                </a:lnTo>
                <a:lnTo>
                  <a:pt x="150" y="780"/>
                </a:lnTo>
                <a:lnTo>
                  <a:pt x="150" y="774"/>
                </a:lnTo>
                <a:lnTo>
                  <a:pt x="156" y="768"/>
                </a:lnTo>
                <a:lnTo>
                  <a:pt x="162" y="762"/>
                </a:lnTo>
                <a:lnTo>
                  <a:pt x="162" y="756"/>
                </a:lnTo>
                <a:lnTo>
                  <a:pt x="162" y="750"/>
                </a:lnTo>
                <a:lnTo>
                  <a:pt x="168" y="750"/>
                </a:lnTo>
                <a:lnTo>
                  <a:pt x="168" y="738"/>
                </a:lnTo>
                <a:lnTo>
                  <a:pt x="174" y="738"/>
                </a:lnTo>
                <a:lnTo>
                  <a:pt x="210" y="714"/>
                </a:lnTo>
                <a:lnTo>
                  <a:pt x="210" y="708"/>
                </a:lnTo>
                <a:lnTo>
                  <a:pt x="210" y="672"/>
                </a:lnTo>
                <a:lnTo>
                  <a:pt x="222" y="666"/>
                </a:lnTo>
                <a:lnTo>
                  <a:pt x="216" y="660"/>
                </a:lnTo>
                <a:lnTo>
                  <a:pt x="204" y="660"/>
                </a:lnTo>
                <a:lnTo>
                  <a:pt x="204" y="654"/>
                </a:lnTo>
                <a:lnTo>
                  <a:pt x="198" y="654"/>
                </a:lnTo>
                <a:lnTo>
                  <a:pt x="192" y="642"/>
                </a:lnTo>
                <a:lnTo>
                  <a:pt x="204" y="636"/>
                </a:lnTo>
                <a:lnTo>
                  <a:pt x="210" y="630"/>
                </a:lnTo>
                <a:lnTo>
                  <a:pt x="240" y="636"/>
                </a:lnTo>
                <a:lnTo>
                  <a:pt x="240" y="642"/>
                </a:lnTo>
                <a:lnTo>
                  <a:pt x="240" y="654"/>
                </a:lnTo>
                <a:lnTo>
                  <a:pt x="252" y="654"/>
                </a:lnTo>
                <a:lnTo>
                  <a:pt x="270" y="654"/>
                </a:lnTo>
                <a:lnTo>
                  <a:pt x="282" y="666"/>
                </a:lnTo>
                <a:lnTo>
                  <a:pt x="282" y="672"/>
                </a:lnTo>
                <a:lnTo>
                  <a:pt x="288" y="672"/>
                </a:lnTo>
                <a:lnTo>
                  <a:pt x="312" y="660"/>
                </a:lnTo>
                <a:lnTo>
                  <a:pt x="312" y="654"/>
                </a:lnTo>
                <a:lnTo>
                  <a:pt x="312" y="642"/>
                </a:lnTo>
                <a:lnTo>
                  <a:pt x="306" y="636"/>
                </a:lnTo>
                <a:lnTo>
                  <a:pt x="300" y="624"/>
                </a:lnTo>
                <a:lnTo>
                  <a:pt x="294" y="618"/>
                </a:lnTo>
                <a:lnTo>
                  <a:pt x="282" y="612"/>
                </a:lnTo>
                <a:lnTo>
                  <a:pt x="258" y="618"/>
                </a:lnTo>
                <a:lnTo>
                  <a:pt x="258" y="612"/>
                </a:lnTo>
                <a:lnTo>
                  <a:pt x="258" y="582"/>
                </a:lnTo>
                <a:lnTo>
                  <a:pt x="270" y="576"/>
                </a:lnTo>
                <a:lnTo>
                  <a:pt x="282" y="570"/>
                </a:lnTo>
                <a:lnTo>
                  <a:pt x="288" y="564"/>
                </a:lnTo>
                <a:lnTo>
                  <a:pt x="294" y="558"/>
                </a:lnTo>
                <a:lnTo>
                  <a:pt x="318" y="558"/>
                </a:lnTo>
                <a:lnTo>
                  <a:pt x="342" y="546"/>
                </a:lnTo>
                <a:lnTo>
                  <a:pt x="348" y="552"/>
                </a:lnTo>
                <a:lnTo>
                  <a:pt x="348" y="570"/>
                </a:lnTo>
                <a:lnTo>
                  <a:pt x="378" y="570"/>
                </a:lnTo>
                <a:lnTo>
                  <a:pt x="402" y="564"/>
                </a:lnTo>
                <a:lnTo>
                  <a:pt x="408" y="564"/>
                </a:lnTo>
                <a:lnTo>
                  <a:pt x="414" y="558"/>
                </a:lnTo>
                <a:lnTo>
                  <a:pt x="414" y="552"/>
                </a:lnTo>
                <a:lnTo>
                  <a:pt x="414" y="540"/>
                </a:lnTo>
                <a:lnTo>
                  <a:pt x="414" y="534"/>
                </a:lnTo>
                <a:lnTo>
                  <a:pt x="414" y="528"/>
                </a:lnTo>
                <a:lnTo>
                  <a:pt x="414" y="516"/>
                </a:lnTo>
                <a:lnTo>
                  <a:pt x="426" y="510"/>
                </a:lnTo>
                <a:lnTo>
                  <a:pt x="444" y="504"/>
                </a:lnTo>
                <a:lnTo>
                  <a:pt x="450" y="504"/>
                </a:lnTo>
                <a:lnTo>
                  <a:pt x="450" y="498"/>
                </a:lnTo>
                <a:lnTo>
                  <a:pt x="438" y="462"/>
                </a:lnTo>
                <a:lnTo>
                  <a:pt x="462" y="450"/>
                </a:lnTo>
                <a:lnTo>
                  <a:pt x="474" y="438"/>
                </a:lnTo>
                <a:lnTo>
                  <a:pt x="480" y="432"/>
                </a:lnTo>
                <a:lnTo>
                  <a:pt x="450" y="414"/>
                </a:lnTo>
                <a:lnTo>
                  <a:pt x="456" y="408"/>
                </a:lnTo>
                <a:lnTo>
                  <a:pt x="474" y="384"/>
                </a:lnTo>
                <a:lnTo>
                  <a:pt x="480" y="384"/>
                </a:lnTo>
                <a:lnTo>
                  <a:pt x="486" y="378"/>
                </a:lnTo>
                <a:lnTo>
                  <a:pt x="498" y="372"/>
                </a:lnTo>
                <a:lnTo>
                  <a:pt x="516" y="366"/>
                </a:lnTo>
                <a:lnTo>
                  <a:pt x="522" y="360"/>
                </a:lnTo>
                <a:lnTo>
                  <a:pt x="516" y="354"/>
                </a:lnTo>
                <a:lnTo>
                  <a:pt x="510" y="342"/>
                </a:lnTo>
                <a:lnTo>
                  <a:pt x="498" y="336"/>
                </a:lnTo>
                <a:lnTo>
                  <a:pt x="492" y="336"/>
                </a:lnTo>
                <a:lnTo>
                  <a:pt x="486" y="336"/>
                </a:lnTo>
                <a:lnTo>
                  <a:pt x="480" y="318"/>
                </a:lnTo>
                <a:lnTo>
                  <a:pt x="474" y="312"/>
                </a:lnTo>
                <a:lnTo>
                  <a:pt x="474" y="294"/>
                </a:lnTo>
                <a:lnTo>
                  <a:pt x="498" y="276"/>
                </a:lnTo>
                <a:lnTo>
                  <a:pt x="468" y="270"/>
                </a:lnTo>
                <a:lnTo>
                  <a:pt x="462" y="264"/>
                </a:lnTo>
                <a:lnTo>
                  <a:pt x="456" y="264"/>
                </a:lnTo>
                <a:lnTo>
                  <a:pt x="456" y="252"/>
                </a:lnTo>
                <a:lnTo>
                  <a:pt x="450" y="252"/>
                </a:lnTo>
                <a:lnTo>
                  <a:pt x="438" y="258"/>
                </a:lnTo>
                <a:lnTo>
                  <a:pt x="432" y="246"/>
                </a:lnTo>
                <a:lnTo>
                  <a:pt x="426" y="246"/>
                </a:lnTo>
                <a:lnTo>
                  <a:pt x="426" y="228"/>
                </a:lnTo>
                <a:lnTo>
                  <a:pt x="420" y="210"/>
                </a:lnTo>
                <a:lnTo>
                  <a:pt x="426" y="204"/>
                </a:lnTo>
                <a:lnTo>
                  <a:pt x="432" y="204"/>
                </a:lnTo>
                <a:lnTo>
                  <a:pt x="438" y="210"/>
                </a:lnTo>
                <a:lnTo>
                  <a:pt x="450" y="198"/>
                </a:lnTo>
                <a:lnTo>
                  <a:pt x="456" y="198"/>
                </a:lnTo>
                <a:lnTo>
                  <a:pt x="456" y="192"/>
                </a:lnTo>
                <a:lnTo>
                  <a:pt x="468" y="180"/>
                </a:lnTo>
                <a:lnTo>
                  <a:pt x="498" y="168"/>
                </a:lnTo>
                <a:lnTo>
                  <a:pt x="504" y="162"/>
                </a:lnTo>
                <a:lnTo>
                  <a:pt x="510" y="150"/>
                </a:lnTo>
                <a:lnTo>
                  <a:pt x="510" y="144"/>
                </a:lnTo>
                <a:lnTo>
                  <a:pt x="516" y="132"/>
                </a:lnTo>
                <a:lnTo>
                  <a:pt x="516" y="138"/>
                </a:lnTo>
                <a:lnTo>
                  <a:pt x="522" y="138"/>
                </a:lnTo>
                <a:lnTo>
                  <a:pt x="528" y="138"/>
                </a:lnTo>
                <a:lnTo>
                  <a:pt x="534" y="138"/>
                </a:lnTo>
                <a:lnTo>
                  <a:pt x="546" y="132"/>
                </a:lnTo>
                <a:lnTo>
                  <a:pt x="552" y="114"/>
                </a:lnTo>
                <a:lnTo>
                  <a:pt x="552" y="102"/>
                </a:lnTo>
                <a:lnTo>
                  <a:pt x="564" y="102"/>
                </a:lnTo>
                <a:lnTo>
                  <a:pt x="570" y="102"/>
                </a:lnTo>
                <a:lnTo>
                  <a:pt x="576" y="102"/>
                </a:lnTo>
                <a:lnTo>
                  <a:pt x="594" y="96"/>
                </a:lnTo>
                <a:lnTo>
                  <a:pt x="600" y="78"/>
                </a:lnTo>
                <a:lnTo>
                  <a:pt x="624" y="78"/>
                </a:lnTo>
                <a:lnTo>
                  <a:pt x="648" y="78"/>
                </a:lnTo>
                <a:lnTo>
                  <a:pt x="648" y="84"/>
                </a:lnTo>
                <a:lnTo>
                  <a:pt x="654" y="96"/>
                </a:lnTo>
                <a:lnTo>
                  <a:pt x="666" y="102"/>
                </a:lnTo>
                <a:lnTo>
                  <a:pt x="672" y="108"/>
                </a:lnTo>
                <a:lnTo>
                  <a:pt x="684" y="126"/>
                </a:lnTo>
                <a:lnTo>
                  <a:pt x="684" y="132"/>
                </a:lnTo>
                <a:lnTo>
                  <a:pt x="708" y="120"/>
                </a:lnTo>
                <a:lnTo>
                  <a:pt x="720" y="126"/>
                </a:lnTo>
                <a:lnTo>
                  <a:pt x="732" y="126"/>
                </a:lnTo>
                <a:lnTo>
                  <a:pt x="732" y="132"/>
                </a:lnTo>
                <a:lnTo>
                  <a:pt x="726" y="138"/>
                </a:lnTo>
                <a:lnTo>
                  <a:pt x="726" y="150"/>
                </a:lnTo>
                <a:lnTo>
                  <a:pt x="732" y="162"/>
                </a:lnTo>
                <a:lnTo>
                  <a:pt x="738" y="162"/>
                </a:lnTo>
                <a:lnTo>
                  <a:pt x="750" y="168"/>
                </a:lnTo>
                <a:lnTo>
                  <a:pt x="756" y="162"/>
                </a:lnTo>
                <a:lnTo>
                  <a:pt x="762" y="162"/>
                </a:lnTo>
                <a:lnTo>
                  <a:pt x="768" y="162"/>
                </a:lnTo>
                <a:lnTo>
                  <a:pt x="774" y="162"/>
                </a:lnTo>
                <a:lnTo>
                  <a:pt x="780" y="156"/>
                </a:lnTo>
                <a:lnTo>
                  <a:pt x="786" y="162"/>
                </a:lnTo>
                <a:lnTo>
                  <a:pt x="798" y="168"/>
                </a:lnTo>
                <a:lnTo>
                  <a:pt x="804" y="150"/>
                </a:lnTo>
                <a:lnTo>
                  <a:pt x="810" y="144"/>
                </a:lnTo>
                <a:lnTo>
                  <a:pt x="822" y="138"/>
                </a:lnTo>
                <a:lnTo>
                  <a:pt x="822" y="132"/>
                </a:lnTo>
                <a:lnTo>
                  <a:pt x="816" y="114"/>
                </a:lnTo>
                <a:lnTo>
                  <a:pt x="810" y="120"/>
                </a:lnTo>
                <a:lnTo>
                  <a:pt x="810" y="102"/>
                </a:lnTo>
                <a:lnTo>
                  <a:pt x="810" y="78"/>
                </a:lnTo>
                <a:lnTo>
                  <a:pt x="822" y="72"/>
                </a:lnTo>
                <a:lnTo>
                  <a:pt x="822" y="78"/>
                </a:lnTo>
                <a:lnTo>
                  <a:pt x="828" y="84"/>
                </a:lnTo>
                <a:lnTo>
                  <a:pt x="852" y="72"/>
                </a:lnTo>
                <a:lnTo>
                  <a:pt x="852" y="84"/>
                </a:lnTo>
                <a:lnTo>
                  <a:pt x="858" y="84"/>
                </a:lnTo>
                <a:lnTo>
                  <a:pt x="858" y="102"/>
                </a:lnTo>
                <a:lnTo>
                  <a:pt x="864" y="102"/>
                </a:lnTo>
                <a:lnTo>
                  <a:pt x="870" y="102"/>
                </a:lnTo>
                <a:lnTo>
                  <a:pt x="876" y="102"/>
                </a:lnTo>
                <a:lnTo>
                  <a:pt x="888" y="114"/>
                </a:lnTo>
                <a:lnTo>
                  <a:pt x="900" y="114"/>
                </a:lnTo>
                <a:lnTo>
                  <a:pt x="906" y="114"/>
                </a:lnTo>
                <a:lnTo>
                  <a:pt x="912" y="120"/>
                </a:lnTo>
                <a:lnTo>
                  <a:pt x="918" y="126"/>
                </a:lnTo>
                <a:lnTo>
                  <a:pt x="918" y="132"/>
                </a:lnTo>
                <a:lnTo>
                  <a:pt x="924" y="132"/>
                </a:lnTo>
                <a:lnTo>
                  <a:pt x="930" y="132"/>
                </a:lnTo>
                <a:lnTo>
                  <a:pt x="936" y="126"/>
                </a:lnTo>
                <a:lnTo>
                  <a:pt x="930" y="120"/>
                </a:lnTo>
                <a:lnTo>
                  <a:pt x="936" y="108"/>
                </a:lnTo>
                <a:lnTo>
                  <a:pt x="924" y="102"/>
                </a:lnTo>
                <a:lnTo>
                  <a:pt x="930" y="78"/>
                </a:lnTo>
                <a:lnTo>
                  <a:pt x="942" y="60"/>
                </a:lnTo>
                <a:lnTo>
                  <a:pt x="954" y="42"/>
                </a:lnTo>
                <a:lnTo>
                  <a:pt x="960" y="42"/>
                </a:lnTo>
                <a:lnTo>
                  <a:pt x="954" y="24"/>
                </a:lnTo>
                <a:lnTo>
                  <a:pt x="972" y="12"/>
                </a:lnTo>
                <a:lnTo>
                  <a:pt x="978" y="6"/>
                </a:lnTo>
                <a:lnTo>
                  <a:pt x="996" y="6"/>
                </a:lnTo>
                <a:lnTo>
                  <a:pt x="1002" y="6"/>
                </a:lnTo>
                <a:lnTo>
                  <a:pt x="1008" y="6"/>
                </a:lnTo>
                <a:lnTo>
                  <a:pt x="1026" y="0"/>
                </a:lnTo>
                <a:lnTo>
                  <a:pt x="1032" y="6"/>
                </a:lnTo>
                <a:lnTo>
                  <a:pt x="1032" y="12"/>
                </a:lnTo>
                <a:lnTo>
                  <a:pt x="1056" y="18"/>
                </a:lnTo>
                <a:lnTo>
                  <a:pt x="1062" y="24"/>
                </a:lnTo>
                <a:lnTo>
                  <a:pt x="1068" y="24"/>
                </a:lnTo>
                <a:lnTo>
                  <a:pt x="1074" y="24"/>
                </a:lnTo>
                <a:lnTo>
                  <a:pt x="1074" y="30"/>
                </a:lnTo>
                <a:lnTo>
                  <a:pt x="1068" y="36"/>
                </a:lnTo>
                <a:lnTo>
                  <a:pt x="1080" y="54"/>
                </a:lnTo>
                <a:lnTo>
                  <a:pt x="1080" y="60"/>
                </a:lnTo>
                <a:lnTo>
                  <a:pt x="1080" y="66"/>
                </a:lnTo>
                <a:lnTo>
                  <a:pt x="1086" y="84"/>
                </a:lnTo>
                <a:lnTo>
                  <a:pt x="1086" y="108"/>
                </a:lnTo>
                <a:lnTo>
                  <a:pt x="1104" y="120"/>
                </a:lnTo>
                <a:lnTo>
                  <a:pt x="1122" y="132"/>
                </a:lnTo>
                <a:lnTo>
                  <a:pt x="1128" y="138"/>
                </a:lnTo>
                <a:lnTo>
                  <a:pt x="1128" y="150"/>
                </a:lnTo>
                <a:lnTo>
                  <a:pt x="1128" y="156"/>
                </a:lnTo>
                <a:lnTo>
                  <a:pt x="1122" y="162"/>
                </a:lnTo>
                <a:lnTo>
                  <a:pt x="1110" y="168"/>
                </a:lnTo>
                <a:lnTo>
                  <a:pt x="1092" y="168"/>
                </a:lnTo>
                <a:lnTo>
                  <a:pt x="1080" y="168"/>
                </a:lnTo>
                <a:lnTo>
                  <a:pt x="1086" y="174"/>
                </a:lnTo>
                <a:lnTo>
                  <a:pt x="1098" y="186"/>
                </a:lnTo>
                <a:lnTo>
                  <a:pt x="1104" y="186"/>
                </a:lnTo>
                <a:lnTo>
                  <a:pt x="1110" y="192"/>
                </a:lnTo>
                <a:lnTo>
                  <a:pt x="1116" y="192"/>
                </a:lnTo>
                <a:lnTo>
                  <a:pt x="1116" y="198"/>
                </a:lnTo>
                <a:lnTo>
                  <a:pt x="1122" y="216"/>
                </a:lnTo>
                <a:lnTo>
                  <a:pt x="1122" y="240"/>
                </a:lnTo>
                <a:lnTo>
                  <a:pt x="1122" y="246"/>
                </a:lnTo>
                <a:lnTo>
                  <a:pt x="1122" y="252"/>
                </a:lnTo>
                <a:lnTo>
                  <a:pt x="1116" y="276"/>
                </a:lnTo>
                <a:lnTo>
                  <a:pt x="1116" y="282"/>
                </a:lnTo>
                <a:lnTo>
                  <a:pt x="1110" y="294"/>
                </a:lnTo>
                <a:lnTo>
                  <a:pt x="1104" y="300"/>
                </a:lnTo>
                <a:lnTo>
                  <a:pt x="1098" y="324"/>
                </a:lnTo>
                <a:lnTo>
                  <a:pt x="1104" y="330"/>
                </a:lnTo>
                <a:lnTo>
                  <a:pt x="1098" y="360"/>
                </a:lnTo>
                <a:lnTo>
                  <a:pt x="1092" y="366"/>
                </a:lnTo>
                <a:lnTo>
                  <a:pt x="1086" y="372"/>
                </a:lnTo>
                <a:lnTo>
                  <a:pt x="1092" y="378"/>
                </a:lnTo>
                <a:lnTo>
                  <a:pt x="1122" y="396"/>
                </a:lnTo>
                <a:lnTo>
                  <a:pt x="1128" y="396"/>
                </a:lnTo>
                <a:lnTo>
                  <a:pt x="1158" y="414"/>
                </a:lnTo>
                <a:lnTo>
                  <a:pt x="1170" y="438"/>
                </a:lnTo>
                <a:lnTo>
                  <a:pt x="1152" y="456"/>
                </a:lnTo>
                <a:lnTo>
                  <a:pt x="1170" y="462"/>
                </a:lnTo>
                <a:lnTo>
                  <a:pt x="1170" y="486"/>
                </a:lnTo>
                <a:lnTo>
                  <a:pt x="1152" y="474"/>
                </a:lnTo>
                <a:lnTo>
                  <a:pt x="1146" y="480"/>
                </a:lnTo>
                <a:lnTo>
                  <a:pt x="1140" y="486"/>
                </a:lnTo>
                <a:lnTo>
                  <a:pt x="1116" y="468"/>
                </a:lnTo>
                <a:lnTo>
                  <a:pt x="1104" y="486"/>
                </a:lnTo>
                <a:lnTo>
                  <a:pt x="1104" y="492"/>
                </a:lnTo>
                <a:lnTo>
                  <a:pt x="1098" y="498"/>
                </a:lnTo>
                <a:lnTo>
                  <a:pt x="1098" y="510"/>
                </a:lnTo>
                <a:lnTo>
                  <a:pt x="1104" y="516"/>
                </a:lnTo>
                <a:lnTo>
                  <a:pt x="1116" y="516"/>
                </a:lnTo>
                <a:lnTo>
                  <a:pt x="1128" y="528"/>
                </a:lnTo>
                <a:lnTo>
                  <a:pt x="1134" y="528"/>
                </a:lnTo>
                <a:lnTo>
                  <a:pt x="1146" y="534"/>
                </a:lnTo>
                <a:lnTo>
                  <a:pt x="1152" y="534"/>
                </a:lnTo>
                <a:lnTo>
                  <a:pt x="1176" y="540"/>
                </a:lnTo>
                <a:lnTo>
                  <a:pt x="1182" y="552"/>
                </a:lnTo>
                <a:lnTo>
                  <a:pt x="1188" y="564"/>
                </a:lnTo>
                <a:lnTo>
                  <a:pt x="1194" y="582"/>
                </a:lnTo>
                <a:lnTo>
                  <a:pt x="1200" y="594"/>
                </a:lnTo>
                <a:lnTo>
                  <a:pt x="1194" y="612"/>
                </a:lnTo>
                <a:lnTo>
                  <a:pt x="1194" y="624"/>
                </a:lnTo>
                <a:lnTo>
                  <a:pt x="1194" y="630"/>
                </a:lnTo>
                <a:lnTo>
                  <a:pt x="1200" y="642"/>
                </a:lnTo>
                <a:lnTo>
                  <a:pt x="1200" y="654"/>
                </a:lnTo>
                <a:lnTo>
                  <a:pt x="1212" y="666"/>
                </a:lnTo>
                <a:lnTo>
                  <a:pt x="1224" y="684"/>
                </a:lnTo>
                <a:lnTo>
                  <a:pt x="1224" y="690"/>
                </a:lnTo>
                <a:lnTo>
                  <a:pt x="1230" y="696"/>
                </a:lnTo>
                <a:lnTo>
                  <a:pt x="1242" y="702"/>
                </a:lnTo>
                <a:lnTo>
                  <a:pt x="1254" y="708"/>
                </a:lnTo>
                <a:lnTo>
                  <a:pt x="1254" y="714"/>
                </a:lnTo>
                <a:lnTo>
                  <a:pt x="1254" y="720"/>
                </a:lnTo>
                <a:lnTo>
                  <a:pt x="1254" y="726"/>
                </a:lnTo>
                <a:lnTo>
                  <a:pt x="1272" y="720"/>
                </a:lnTo>
                <a:lnTo>
                  <a:pt x="1284" y="732"/>
                </a:lnTo>
                <a:lnTo>
                  <a:pt x="1320" y="756"/>
                </a:lnTo>
                <a:lnTo>
                  <a:pt x="1332" y="768"/>
                </a:lnTo>
                <a:lnTo>
                  <a:pt x="1332" y="774"/>
                </a:lnTo>
                <a:lnTo>
                  <a:pt x="1320" y="792"/>
                </a:lnTo>
                <a:lnTo>
                  <a:pt x="1332" y="810"/>
                </a:lnTo>
                <a:lnTo>
                  <a:pt x="1320" y="822"/>
                </a:lnTo>
                <a:lnTo>
                  <a:pt x="1332" y="834"/>
                </a:lnTo>
                <a:lnTo>
                  <a:pt x="1350" y="828"/>
                </a:lnTo>
                <a:lnTo>
                  <a:pt x="1356" y="834"/>
                </a:lnTo>
                <a:lnTo>
                  <a:pt x="1356" y="840"/>
                </a:lnTo>
                <a:lnTo>
                  <a:pt x="1356" y="846"/>
                </a:lnTo>
                <a:lnTo>
                  <a:pt x="1374" y="852"/>
                </a:lnTo>
                <a:lnTo>
                  <a:pt x="1380" y="858"/>
                </a:lnTo>
                <a:lnTo>
                  <a:pt x="1392" y="864"/>
                </a:lnTo>
                <a:lnTo>
                  <a:pt x="1404" y="870"/>
                </a:lnTo>
                <a:lnTo>
                  <a:pt x="1428" y="870"/>
                </a:lnTo>
                <a:lnTo>
                  <a:pt x="1434" y="870"/>
                </a:lnTo>
                <a:lnTo>
                  <a:pt x="1452" y="864"/>
                </a:lnTo>
                <a:lnTo>
                  <a:pt x="1464" y="852"/>
                </a:lnTo>
                <a:lnTo>
                  <a:pt x="1470" y="846"/>
                </a:lnTo>
                <a:lnTo>
                  <a:pt x="1482" y="858"/>
                </a:lnTo>
                <a:lnTo>
                  <a:pt x="1494" y="858"/>
                </a:lnTo>
                <a:lnTo>
                  <a:pt x="1500" y="858"/>
                </a:lnTo>
                <a:lnTo>
                  <a:pt x="1512" y="858"/>
                </a:lnTo>
                <a:lnTo>
                  <a:pt x="1518" y="858"/>
                </a:lnTo>
                <a:lnTo>
                  <a:pt x="1530" y="858"/>
                </a:lnTo>
                <a:lnTo>
                  <a:pt x="1548" y="876"/>
                </a:lnTo>
                <a:lnTo>
                  <a:pt x="1560" y="876"/>
                </a:lnTo>
                <a:lnTo>
                  <a:pt x="1566" y="882"/>
                </a:lnTo>
                <a:lnTo>
                  <a:pt x="1584" y="882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lnSpc>
                <a:spcPct val="85000"/>
              </a:lnSpc>
              <a:defRPr/>
            </a:pPr>
            <a:endParaRPr lang="en-US" sz="900" dirty="0">
              <a:latin typeface="+mj-lt"/>
            </a:endParaRPr>
          </a:p>
        </p:txBody>
      </p:sp>
      <p:sp>
        <p:nvSpPr>
          <p:cNvPr id="82" name="Freeform 26"/>
          <p:cNvSpPr>
            <a:spLocks/>
          </p:cNvSpPr>
          <p:nvPr/>
        </p:nvSpPr>
        <p:spPr bwMode="gray">
          <a:xfrm>
            <a:off x="6005513" y="2039938"/>
            <a:ext cx="1670050" cy="1890712"/>
          </a:xfrm>
          <a:custGeom>
            <a:avLst/>
            <a:gdLst>
              <a:gd name="T0" fmla="*/ 123429 w 1734"/>
              <a:gd name="T1" fmla="*/ 41621 h 1968"/>
              <a:gd name="T2" fmla="*/ 120159 w 1734"/>
              <a:gd name="T3" fmla="*/ 45701 h 1968"/>
              <a:gd name="T4" fmla="*/ 116890 w 1734"/>
              <a:gd name="T5" fmla="*/ 50598 h 1968"/>
              <a:gd name="T6" fmla="*/ 120159 w 1734"/>
              <a:gd name="T7" fmla="*/ 60391 h 1968"/>
              <a:gd name="T8" fmla="*/ 120977 w 1734"/>
              <a:gd name="T9" fmla="*/ 64471 h 1968"/>
              <a:gd name="T10" fmla="*/ 119342 w 1734"/>
              <a:gd name="T11" fmla="*/ 71000 h 1968"/>
              <a:gd name="T12" fmla="*/ 114437 w 1734"/>
              <a:gd name="T13" fmla="*/ 71816 h 1968"/>
              <a:gd name="T14" fmla="*/ 112803 w 1734"/>
              <a:gd name="T15" fmla="*/ 75080 h 1968"/>
              <a:gd name="T16" fmla="*/ 110350 w 1734"/>
              <a:gd name="T17" fmla="*/ 80793 h 1968"/>
              <a:gd name="T18" fmla="*/ 109533 w 1734"/>
              <a:gd name="T19" fmla="*/ 84873 h 1968"/>
              <a:gd name="T20" fmla="*/ 109533 w 1734"/>
              <a:gd name="T21" fmla="*/ 88954 h 1968"/>
              <a:gd name="T22" fmla="*/ 107898 w 1734"/>
              <a:gd name="T23" fmla="*/ 94666 h 1968"/>
              <a:gd name="T24" fmla="*/ 109533 w 1734"/>
              <a:gd name="T25" fmla="*/ 100379 h 1968"/>
              <a:gd name="T26" fmla="*/ 105446 w 1734"/>
              <a:gd name="T27" fmla="*/ 104459 h 1968"/>
              <a:gd name="T28" fmla="*/ 104628 w 1734"/>
              <a:gd name="T29" fmla="*/ 110172 h 1968"/>
              <a:gd name="T30" fmla="*/ 102994 w 1734"/>
              <a:gd name="T31" fmla="*/ 112620 h 1968"/>
              <a:gd name="T32" fmla="*/ 98089 w 1734"/>
              <a:gd name="T33" fmla="*/ 117517 h 1968"/>
              <a:gd name="T34" fmla="*/ 96454 w 1734"/>
              <a:gd name="T35" fmla="*/ 120781 h 1968"/>
              <a:gd name="T36" fmla="*/ 94002 w 1734"/>
              <a:gd name="T37" fmla="*/ 124046 h 1968"/>
              <a:gd name="T38" fmla="*/ 91550 w 1734"/>
              <a:gd name="T39" fmla="*/ 126494 h 1968"/>
              <a:gd name="T40" fmla="*/ 88280 w 1734"/>
              <a:gd name="T41" fmla="*/ 131390 h 1968"/>
              <a:gd name="T42" fmla="*/ 85828 w 1734"/>
              <a:gd name="T43" fmla="*/ 136287 h 1968"/>
              <a:gd name="T44" fmla="*/ 79289 w 1734"/>
              <a:gd name="T45" fmla="*/ 140367 h 1968"/>
              <a:gd name="T46" fmla="*/ 74384 w 1734"/>
              <a:gd name="T47" fmla="*/ 139551 h 1968"/>
              <a:gd name="T48" fmla="*/ 67845 w 1734"/>
              <a:gd name="T49" fmla="*/ 137103 h 1968"/>
              <a:gd name="T50" fmla="*/ 53949 w 1734"/>
              <a:gd name="T51" fmla="*/ 135471 h 1968"/>
              <a:gd name="T52" fmla="*/ 57219 w 1734"/>
              <a:gd name="T53" fmla="*/ 124046 h 1968"/>
              <a:gd name="T54" fmla="*/ 55584 w 1734"/>
              <a:gd name="T55" fmla="*/ 116701 h 1968"/>
              <a:gd name="T56" fmla="*/ 48227 w 1734"/>
              <a:gd name="T57" fmla="*/ 115069 h 1968"/>
              <a:gd name="T58" fmla="*/ 33514 w 1734"/>
              <a:gd name="T59" fmla="*/ 110988 h 1968"/>
              <a:gd name="T60" fmla="*/ 27792 w 1734"/>
              <a:gd name="T61" fmla="*/ 107724 h 1968"/>
              <a:gd name="T62" fmla="*/ 27792 w 1734"/>
              <a:gd name="T63" fmla="*/ 91402 h 1968"/>
              <a:gd name="T64" fmla="*/ 22070 w 1734"/>
              <a:gd name="T65" fmla="*/ 77528 h 1968"/>
              <a:gd name="T66" fmla="*/ 18800 w 1734"/>
              <a:gd name="T67" fmla="*/ 68551 h 1968"/>
              <a:gd name="T68" fmla="*/ 17166 w 1734"/>
              <a:gd name="T69" fmla="*/ 58758 h 1968"/>
              <a:gd name="T70" fmla="*/ 4087 w 1734"/>
              <a:gd name="T71" fmla="*/ 58758 h 1968"/>
              <a:gd name="T72" fmla="*/ 0 w 1734"/>
              <a:gd name="T73" fmla="*/ 48149 h 1968"/>
              <a:gd name="T74" fmla="*/ 3270 w 1734"/>
              <a:gd name="T75" fmla="*/ 48149 h 1968"/>
              <a:gd name="T76" fmla="*/ 4904 w 1734"/>
              <a:gd name="T77" fmla="*/ 43253 h 1968"/>
              <a:gd name="T78" fmla="*/ 10626 w 1734"/>
              <a:gd name="T79" fmla="*/ 41621 h 1968"/>
              <a:gd name="T80" fmla="*/ 14713 w 1734"/>
              <a:gd name="T81" fmla="*/ 36724 h 1968"/>
              <a:gd name="T82" fmla="*/ 17983 w 1734"/>
              <a:gd name="T83" fmla="*/ 30195 h 1968"/>
              <a:gd name="T84" fmla="*/ 19618 w 1734"/>
              <a:gd name="T85" fmla="*/ 21218 h 1968"/>
              <a:gd name="T86" fmla="*/ 21253 w 1734"/>
              <a:gd name="T87" fmla="*/ 11425 h 1968"/>
              <a:gd name="T88" fmla="*/ 20435 w 1734"/>
              <a:gd name="T89" fmla="*/ 10609 h 1968"/>
              <a:gd name="T90" fmla="*/ 22070 w 1734"/>
              <a:gd name="T91" fmla="*/ 3264 h 1968"/>
              <a:gd name="T92" fmla="*/ 31879 w 1734"/>
              <a:gd name="T93" fmla="*/ 3264 h 1968"/>
              <a:gd name="T94" fmla="*/ 39236 w 1734"/>
              <a:gd name="T95" fmla="*/ 7345 h 1968"/>
              <a:gd name="T96" fmla="*/ 49045 w 1734"/>
              <a:gd name="T97" fmla="*/ 4897 h 1968"/>
              <a:gd name="T98" fmla="*/ 60488 w 1734"/>
              <a:gd name="T99" fmla="*/ 0 h 1968"/>
              <a:gd name="T100" fmla="*/ 65393 w 1734"/>
              <a:gd name="T101" fmla="*/ 7345 h 1968"/>
              <a:gd name="T102" fmla="*/ 67028 w 1734"/>
              <a:gd name="T103" fmla="*/ 21218 h 1968"/>
              <a:gd name="T104" fmla="*/ 76019 w 1734"/>
              <a:gd name="T105" fmla="*/ 27747 h 1968"/>
              <a:gd name="T106" fmla="*/ 85011 w 1734"/>
              <a:gd name="T107" fmla="*/ 28563 h 1968"/>
              <a:gd name="T108" fmla="*/ 93185 w 1734"/>
              <a:gd name="T109" fmla="*/ 31011 h 1968"/>
              <a:gd name="T110" fmla="*/ 99724 w 1734"/>
              <a:gd name="T111" fmla="*/ 27747 h 1968"/>
              <a:gd name="T112" fmla="*/ 103811 w 1734"/>
              <a:gd name="T113" fmla="*/ 22034 h 1968"/>
              <a:gd name="T114" fmla="*/ 109533 w 1734"/>
              <a:gd name="T115" fmla="*/ 28563 h 1968"/>
              <a:gd name="T116" fmla="*/ 114437 w 1734"/>
              <a:gd name="T117" fmla="*/ 33460 h 1968"/>
              <a:gd name="T118" fmla="*/ 118524 w 1734"/>
              <a:gd name="T119" fmla="*/ 28563 h 1968"/>
              <a:gd name="T120" fmla="*/ 125064 w 1734"/>
              <a:gd name="T121" fmla="*/ 35908 h 196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4" h="1968">
                <a:moveTo>
                  <a:pt x="1728" y="522"/>
                </a:moveTo>
                <a:lnTo>
                  <a:pt x="1734" y="528"/>
                </a:lnTo>
                <a:lnTo>
                  <a:pt x="1728" y="534"/>
                </a:lnTo>
                <a:lnTo>
                  <a:pt x="1734" y="540"/>
                </a:lnTo>
                <a:lnTo>
                  <a:pt x="1728" y="546"/>
                </a:lnTo>
                <a:lnTo>
                  <a:pt x="1728" y="552"/>
                </a:lnTo>
                <a:lnTo>
                  <a:pt x="1716" y="570"/>
                </a:lnTo>
                <a:lnTo>
                  <a:pt x="1710" y="570"/>
                </a:lnTo>
                <a:lnTo>
                  <a:pt x="1704" y="576"/>
                </a:lnTo>
                <a:lnTo>
                  <a:pt x="1698" y="600"/>
                </a:lnTo>
                <a:lnTo>
                  <a:pt x="1692" y="606"/>
                </a:lnTo>
                <a:lnTo>
                  <a:pt x="1686" y="600"/>
                </a:lnTo>
                <a:lnTo>
                  <a:pt x="1680" y="600"/>
                </a:lnTo>
                <a:lnTo>
                  <a:pt x="1674" y="606"/>
                </a:lnTo>
                <a:lnTo>
                  <a:pt x="1668" y="612"/>
                </a:lnTo>
                <a:lnTo>
                  <a:pt x="1662" y="618"/>
                </a:lnTo>
                <a:lnTo>
                  <a:pt x="1656" y="624"/>
                </a:lnTo>
                <a:lnTo>
                  <a:pt x="1650" y="636"/>
                </a:lnTo>
                <a:lnTo>
                  <a:pt x="1674" y="654"/>
                </a:lnTo>
                <a:lnTo>
                  <a:pt x="1668" y="660"/>
                </a:lnTo>
                <a:lnTo>
                  <a:pt x="1662" y="672"/>
                </a:lnTo>
                <a:lnTo>
                  <a:pt x="1644" y="654"/>
                </a:lnTo>
                <a:lnTo>
                  <a:pt x="1638" y="654"/>
                </a:lnTo>
                <a:lnTo>
                  <a:pt x="1638" y="660"/>
                </a:lnTo>
                <a:lnTo>
                  <a:pt x="1626" y="678"/>
                </a:lnTo>
                <a:lnTo>
                  <a:pt x="1620" y="690"/>
                </a:lnTo>
                <a:lnTo>
                  <a:pt x="1614" y="702"/>
                </a:lnTo>
                <a:lnTo>
                  <a:pt x="1614" y="726"/>
                </a:lnTo>
                <a:lnTo>
                  <a:pt x="1608" y="738"/>
                </a:lnTo>
                <a:lnTo>
                  <a:pt x="1608" y="750"/>
                </a:lnTo>
                <a:lnTo>
                  <a:pt x="1608" y="774"/>
                </a:lnTo>
                <a:lnTo>
                  <a:pt x="1608" y="786"/>
                </a:lnTo>
                <a:lnTo>
                  <a:pt x="1614" y="792"/>
                </a:lnTo>
                <a:lnTo>
                  <a:pt x="1626" y="810"/>
                </a:lnTo>
                <a:lnTo>
                  <a:pt x="1638" y="828"/>
                </a:lnTo>
                <a:lnTo>
                  <a:pt x="1650" y="828"/>
                </a:lnTo>
                <a:lnTo>
                  <a:pt x="1644" y="846"/>
                </a:lnTo>
                <a:lnTo>
                  <a:pt x="1650" y="852"/>
                </a:lnTo>
                <a:lnTo>
                  <a:pt x="1650" y="858"/>
                </a:lnTo>
                <a:lnTo>
                  <a:pt x="1656" y="858"/>
                </a:lnTo>
                <a:lnTo>
                  <a:pt x="1662" y="870"/>
                </a:lnTo>
                <a:lnTo>
                  <a:pt x="1656" y="876"/>
                </a:lnTo>
                <a:lnTo>
                  <a:pt x="1662" y="882"/>
                </a:lnTo>
                <a:lnTo>
                  <a:pt x="1656" y="888"/>
                </a:lnTo>
                <a:lnTo>
                  <a:pt x="1662" y="888"/>
                </a:lnTo>
                <a:lnTo>
                  <a:pt x="1668" y="900"/>
                </a:lnTo>
                <a:lnTo>
                  <a:pt x="1668" y="906"/>
                </a:lnTo>
                <a:lnTo>
                  <a:pt x="1662" y="930"/>
                </a:lnTo>
                <a:lnTo>
                  <a:pt x="1662" y="948"/>
                </a:lnTo>
                <a:lnTo>
                  <a:pt x="1656" y="960"/>
                </a:lnTo>
                <a:lnTo>
                  <a:pt x="1650" y="972"/>
                </a:lnTo>
                <a:lnTo>
                  <a:pt x="1656" y="978"/>
                </a:lnTo>
                <a:lnTo>
                  <a:pt x="1650" y="984"/>
                </a:lnTo>
                <a:lnTo>
                  <a:pt x="1644" y="978"/>
                </a:lnTo>
                <a:lnTo>
                  <a:pt x="1632" y="984"/>
                </a:lnTo>
                <a:lnTo>
                  <a:pt x="1626" y="978"/>
                </a:lnTo>
                <a:lnTo>
                  <a:pt x="1614" y="978"/>
                </a:lnTo>
                <a:lnTo>
                  <a:pt x="1608" y="978"/>
                </a:lnTo>
                <a:lnTo>
                  <a:pt x="1608" y="984"/>
                </a:lnTo>
                <a:lnTo>
                  <a:pt x="1602" y="984"/>
                </a:lnTo>
                <a:lnTo>
                  <a:pt x="1596" y="984"/>
                </a:lnTo>
                <a:lnTo>
                  <a:pt x="1584" y="984"/>
                </a:lnTo>
                <a:lnTo>
                  <a:pt x="1578" y="990"/>
                </a:lnTo>
                <a:lnTo>
                  <a:pt x="1572" y="996"/>
                </a:lnTo>
                <a:lnTo>
                  <a:pt x="1566" y="996"/>
                </a:lnTo>
                <a:lnTo>
                  <a:pt x="1560" y="996"/>
                </a:lnTo>
                <a:lnTo>
                  <a:pt x="1554" y="1002"/>
                </a:lnTo>
                <a:lnTo>
                  <a:pt x="1554" y="1008"/>
                </a:lnTo>
                <a:lnTo>
                  <a:pt x="1554" y="1014"/>
                </a:lnTo>
                <a:lnTo>
                  <a:pt x="1554" y="1020"/>
                </a:lnTo>
                <a:lnTo>
                  <a:pt x="1554" y="1032"/>
                </a:lnTo>
                <a:lnTo>
                  <a:pt x="1548" y="1038"/>
                </a:lnTo>
                <a:lnTo>
                  <a:pt x="1542" y="1050"/>
                </a:lnTo>
                <a:lnTo>
                  <a:pt x="1542" y="1062"/>
                </a:lnTo>
                <a:lnTo>
                  <a:pt x="1536" y="1074"/>
                </a:lnTo>
                <a:lnTo>
                  <a:pt x="1536" y="1086"/>
                </a:lnTo>
                <a:lnTo>
                  <a:pt x="1530" y="1086"/>
                </a:lnTo>
                <a:lnTo>
                  <a:pt x="1524" y="1098"/>
                </a:lnTo>
                <a:lnTo>
                  <a:pt x="1524" y="1110"/>
                </a:lnTo>
                <a:lnTo>
                  <a:pt x="1518" y="1116"/>
                </a:lnTo>
                <a:lnTo>
                  <a:pt x="1518" y="1122"/>
                </a:lnTo>
                <a:lnTo>
                  <a:pt x="1512" y="1122"/>
                </a:lnTo>
                <a:lnTo>
                  <a:pt x="1512" y="1140"/>
                </a:lnTo>
                <a:lnTo>
                  <a:pt x="1512" y="1146"/>
                </a:lnTo>
                <a:lnTo>
                  <a:pt x="1512" y="1152"/>
                </a:lnTo>
                <a:lnTo>
                  <a:pt x="1512" y="1164"/>
                </a:lnTo>
                <a:lnTo>
                  <a:pt x="1512" y="1170"/>
                </a:lnTo>
                <a:lnTo>
                  <a:pt x="1506" y="1170"/>
                </a:lnTo>
                <a:lnTo>
                  <a:pt x="1506" y="1176"/>
                </a:lnTo>
                <a:lnTo>
                  <a:pt x="1512" y="1176"/>
                </a:lnTo>
                <a:lnTo>
                  <a:pt x="1506" y="1182"/>
                </a:lnTo>
                <a:lnTo>
                  <a:pt x="1500" y="1188"/>
                </a:lnTo>
                <a:lnTo>
                  <a:pt x="1506" y="1194"/>
                </a:lnTo>
                <a:lnTo>
                  <a:pt x="1512" y="1200"/>
                </a:lnTo>
                <a:lnTo>
                  <a:pt x="1518" y="1200"/>
                </a:lnTo>
                <a:lnTo>
                  <a:pt x="1518" y="1206"/>
                </a:lnTo>
                <a:lnTo>
                  <a:pt x="1518" y="1218"/>
                </a:lnTo>
                <a:lnTo>
                  <a:pt x="1512" y="1230"/>
                </a:lnTo>
                <a:lnTo>
                  <a:pt x="1506" y="1230"/>
                </a:lnTo>
                <a:lnTo>
                  <a:pt x="1500" y="1242"/>
                </a:lnTo>
                <a:lnTo>
                  <a:pt x="1494" y="1248"/>
                </a:lnTo>
                <a:lnTo>
                  <a:pt x="1494" y="1254"/>
                </a:lnTo>
                <a:lnTo>
                  <a:pt x="1488" y="1266"/>
                </a:lnTo>
                <a:lnTo>
                  <a:pt x="1488" y="1278"/>
                </a:lnTo>
                <a:lnTo>
                  <a:pt x="1488" y="1284"/>
                </a:lnTo>
                <a:lnTo>
                  <a:pt x="1482" y="1290"/>
                </a:lnTo>
                <a:lnTo>
                  <a:pt x="1482" y="1302"/>
                </a:lnTo>
                <a:lnTo>
                  <a:pt x="1482" y="1308"/>
                </a:lnTo>
                <a:lnTo>
                  <a:pt x="1482" y="1314"/>
                </a:lnTo>
                <a:lnTo>
                  <a:pt x="1482" y="1320"/>
                </a:lnTo>
                <a:lnTo>
                  <a:pt x="1488" y="1320"/>
                </a:lnTo>
                <a:lnTo>
                  <a:pt x="1494" y="1320"/>
                </a:lnTo>
                <a:lnTo>
                  <a:pt x="1500" y="1332"/>
                </a:lnTo>
                <a:lnTo>
                  <a:pt x="1506" y="1356"/>
                </a:lnTo>
                <a:lnTo>
                  <a:pt x="1506" y="1362"/>
                </a:lnTo>
                <a:lnTo>
                  <a:pt x="1506" y="1374"/>
                </a:lnTo>
                <a:lnTo>
                  <a:pt x="1506" y="1386"/>
                </a:lnTo>
                <a:lnTo>
                  <a:pt x="1506" y="1392"/>
                </a:lnTo>
                <a:lnTo>
                  <a:pt x="1494" y="1398"/>
                </a:lnTo>
                <a:lnTo>
                  <a:pt x="1488" y="1404"/>
                </a:lnTo>
                <a:lnTo>
                  <a:pt x="1482" y="1410"/>
                </a:lnTo>
                <a:lnTo>
                  <a:pt x="1476" y="1410"/>
                </a:lnTo>
                <a:lnTo>
                  <a:pt x="1470" y="1416"/>
                </a:lnTo>
                <a:lnTo>
                  <a:pt x="1464" y="1422"/>
                </a:lnTo>
                <a:lnTo>
                  <a:pt x="1458" y="1422"/>
                </a:lnTo>
                <a:lnTo>
                  <a:pt x="1452" y="1440"/>
                </a:lnTo>
                <a:lnTo>
                  <a:pt x="1452" y="1458"/>
                </a:lnTo>
                <a:lnTo>
                  <a:pt x="1452" y="1470"/>
                </a:lnTo>
                <a:lnTo>
                  <a:pt x="1446" y="1494"/>
                </a:lnTo>
                <a:lnTo>
                  <a:pt x="1452" y="1500"/>
                </a:lnTo>
                <a:lnTo>
                  <a:pt x="1452" y="1512"/>
                </a:lnTo>
                <a:lnTo>
                  <a:pt x="1446" y="1512"/>
                </a:lnTo>
                <a:lnTo>
                  <a:pt x="1446" y="1518"/>
                </a:lnTo>
                <a:lnTo>
                  <a:pt x="1440" y="1518"/>
                </a:lnTo>
                <a:lnTo>
                  <a:pt x="1440" y="1524"/>
                </a:lnTo>
                <a:lnTo>
                  <a:pt x="1440" y="1530"/>
                </a:lnTo>
                <a:lnTo>
                  <a:pt x="1446" y="1536"/>
                </a:lnTo>
                <a:lnTo>
                  <a:pt x="1440" y="1542"/>
                </a:lnTo>
                <a:lnTo>
                  <a:pt x="1446" y="1548"/>
                </a:lnTo>
                <a:lnTo>
                  <a:pt x="1446" y="1554"/>
                </a:lnTo>
                <a:lnTo>
                  <a:pt x="1446" y="1560"/>
                </a:lnTo>
                <a:lnTo>
                  <a:pt x="1434" y="1560"/>
                </a:lnTo>
                <a:lnTo>
                  <a:pt x="1428" y="1560"/>
                </a:lnTo>
                <a:lnTo>
                  <a:pt x="1416" y="1560"/>
                </a:lnTo>
                <a:lnTo>
                  <a:pt x="1410" y="1560"/>
                </a:lnTo>
                <a:lnTo>
                  <a:pt x="1404" y="1566"/>
                </a:lnTo>
                <a:lnTo>
                  <a:pt x="1392" y="1572"/>
                </a:lnTo>
                <a:lnTo>
                  <a:pt x="1380" y="1578"/>
                </a:lnTo>
                <a:lnTo>
                  <a:pt x="1362" y="1590"/>
                </a:lnTo>
                <a:lnTo>
                  <a:pt x="1356" y="1596"/>
                </a:lnTo>
                <a:lnTo>
                  <a:pt x="1356" y="1602"/>
                </a:lnTo>
                <a:lnTo>
                  <a:pt x="1350" y="1608"/>
                </a:lnTo>
                <a:lnTo>
                  <a:pt x="1350" y="1626"/>
                </a:lnTo>
                <a:lnTo>
                  <a:pt x="1350" y="1632"/>
                </a:lnTo>
                <a:lnTo>
                  <a:pt x="1356" y="1638"/>
                </a:lnTo>
                <a:lnTo>
                  <a:pt x="1350" y="1644"/>
                </a:lnTo>
                <a:lnTo>
                  <a:pt x="1344" y="1644"/>
                </a:lnTo>
                <a:lnTo>
                  <a:pt x="1344" y="1650"/>
                </a:lnTo>
                <a:lnTo>
                  <a:pt x="1338" y="1650"/>
                </a:lnTo>
                <a:lnTo>
                  <a:pt x="1344" y="1662"/>
                </a:lnTo>
                <a:lnTo>
                  <a:pt x="1338" y="1662"/>
                </a:lnTo>
                <a:lnTo>
                  <a:pt x="1332" y="1668"/>
                </a:lnTo>
                <a:lnTo>
                  <a:pt x="1338" y="1674"/>
                </a:lnTo>
                <a:lnTo>
                  <a:pt x="1326" y="1680"/>
                </a:lnTo>
                <a:lnTo>
                  <a:pt x="1326" y="1686"/>
                </a:lnTo>
                <a:lnTo>
                  <a:pt x="1320" y="1692"/>
                </a:lnTo>
                <a:lnTo>
                  <a:pt x="1320" y="1698"/>
                </a:lnTo>
                <a:lnTo>
                  <a:pt x="1314" y="1704"/>
                </a:lnTo>
                <a:lnTo>
                  <a:pt x="1308" y="1704"/>
                </a:lnTo>
                <a:lnTo>
                  <a:pt x="1302" y="1710"/>
                </a:lnTo>
                <a:lnTo>
                  <a:pt x="1296" y="1710"/>
                </a:lnTo>
                <a:lnTo>
                  <a:pt x="1290" y="1716"/>
                </a:lnTo>
                <a:lnTo>
                  <a:pt x="1278" y="1716"/>
                </a:lnTo>
                <a:lnTo>
                  <a:pt x="1272" y="1722"/>
                </a:lnTo>
                <a:lnTo>
                  <a:pt x="1272" y="1728"/>
                </a:lnTo>
                <a:lnTo>
                  <a:pt x="1278" y="1734"/>
                </a:lnTo>
                <a:lnTo>
                  <a:pt x="1290" y="1752"/>
                </a:lnTo>
                <a:lnTo>
                  <a:pt x="1272" y="1752"/>
                </a:lnTo>
                <a:lnTo>
                  <a:pt x="1272" y="1746"/>
                </a:lnTo>
                <a:lnTo>
                  <a:pt x="1260" y="1746"/>
                </a:lnTo>
                <a:lnTo>
                  <a:pt x="1266" y="1758"/>
                </a:lnTo>
                <a:lnTo>
                  <a:pt x="1266" y="1764"/>
                </a:lnTo>
                <a:lnTo>
                  <a:pt x="1266" y="1770"/>
                </a:lnTo>
                <a:lnTo>
                  <a:pt x="1254" y="1776"/>
                </a:lnTo>
                <a:lnTo>
                  <a:pt x="1254" y="1782"/>
                </a:lnTo>
                <a:lnTo>
                  <a:pt x="1254" y="1794"/>
                </a:lnTo>
                <a:lnTo>
                  <a:pt x="1248" y="1794"/>
                </a:lnTo>
                <a:lnTo>
                  <a:pt x="1230" y="1812"/>
                </a:lnTo>
                <a:lnTo>
                  <a:pt x="1212" y="1818"/>
                </a:lnTo>
                <a:lnTo>
                  <a:pt x="1200" y="1812"/>
                </a:lnTo>
                <a:lnTo>
                  <a:pt x="1194" y="1806"/>
                </a:lnTo>
                <a:lnTo>
                  <a:pt x="1182" y="1818"/>
                </a:lnTo>
                <a:lnTo>
                  <a:pt x="1194" y="1824"/>
                </a:lnTo>
                <a:lnTo>
                  <a:pt x="1194" y="1836"/>
                </a:lnTo>
                <a:lnTo>
                  <a:pt x="1188" y="1848"/>
                </a:lnTo>
                <a:lnTo>
                  <a:pt x="1194" y="1860"/>
                </a:lnTo>
                <a:lnTo>
                  <a:pt x="1194" y="1872"/>
                </a:lnTo>
                <a:lnTo>
                  <a:pt x="1176" y="1884"/>
                </a:lnTo>
                <a:lnTo>
                  <a:pt x="1170" y="1884"/>
                </a:lnTo>
                <a:lnTo>
                  <a:pt x="1146" y="1890"/>
                </a:lnTo>
                <a:lnTo>
                  <a:pt x="1146" y="1896"/>
                </a:lnTo>
                <a:lnTo>
                  <a:pt x="1128" y="1908"/>
                </a:lnTo>
                <a:lnTo>
                  <a:pt x="1122" y="1914"/>
                </a:lnTo>
                <a:lnTo>
                  <a:pt x="1110" y="1914"/>
                </a:lnTo>
                <a:lnTo>
                  <a:pt x="1110" y="1920"/>
                </a:lnTo>
                <a:lnTo>
                  <a:pt x="1104" y="1920"/>
                </a:lnTo>
                <a:lnTo>
                  <a:pt x="1098" y="1944"/>
                </a:lnTo>
                <a:lnTo>
                  <a:pt x="1086" y="1956"/>
                </a:lnTo>
                <a:lnTo>
                  <a:pt x="1080" y="1944"/>
                </a:lnTo>
                <a:lnTo>
                  <a:pt x="1068" y="1932"/>
                </a:lnTo>
                <a:lnTo>
                  <a:pt x="1050" y="1938"/>
                </a:lnTo>
                <a:lnTo>
                  <a:pt x="1032" y="1950"/>
                </a:lnTo>
                <a:lnTo>
                  <a:pt x="1020" y="1956"/>
                </a:lnTo>
                <a:lnTo>
                  <a:pt x="1014" y="1968"/>
                </a:lnTo>
                <a:lnTo>
                  <a:pt x="1014" y="1944"/>
                </a:lnTo>
                <a:lnTo>
                  <a:pt x="1026" y="1932"/>
                </a:lnTo>
                <a:lnTo>
                  <a:pt x="1038" y="1920"/>
                </a:lnTo>
                <a:lnTo>
                  <a:pt x="1038" y="1902"/>
                </a:lnTo>
                <a:lnTo>
                  <a:pt x="1026" y="1902"/>
                </a:lnTo>
                <a:lnTo>
                  <a:pt x="1026" y="1896"/>
                </a:lnTo>
                <a:lnTo>
                  <a:pt x="1020" y="1890"/>
                </a:lnTo>
                <a:lnTo>
                  <a:pt x="1008" y="1896"/>
                </a:lnTo>
                <a:lnTo>
                  <a:pt x="978" y="1896"/>
                </a:lnTo>
                <a:lnTo>
                  <a:pt x="954" y="1896"/>
                </a:lnTo>
                <a:lnTo>
                  <a:pt x="930" y="1896"/>
                </a:lnTo>
                <a:lnTo>
                  <a:pt x="918" y="1890"/>
                </a:lnTo>
                <a:lnTo>
                  <a:pt x="870" y="1896"/>
                </a:lnTo>
                <a:lnTo>
                  <a:pt x="828" y="1884"/>
                </a:lnTo>
                <a:lnTo>
                  <a:pt x="804" y="1878"/>
                </a:lnTo>
                <a:lnTo>
                  <a:pt x="798" y="1878"/>
                </a:lnTo>
                <a:lnTo>
                  <a:pt x="780" y="1866"/>
                </a:lnTo>
                <a:lnTo>
                  <a:pt x="762" y="1860"/>
                </a:lnTo>
                <a:lnTo>
                  <a:pt x="750" y="1860"/>
                </a:lnTo>
                <a:lnTo>
                  <a:pt x="738" y="1866"/>
                </a:lnTo>
                <a:lnTo>
                  <a:pt x="732" y="1854"/>
                </a:lnTo>
                <a:lnTo>
                  <a:pt x="726" y="1836"/>
                </a:lnTo>
                <a:lnTo>
                  <a:pt x="720" y="1830"/>
                </a:lnTo>
                <a:lnTo>
                  <a:pt x="720" y="1824"/>
                </a:lnTo>
                <a:lnTo>
                  <a:pt x="732" y="1818"/>
                </a:lnTo>
                <a:lnTo>
                  <a:pt x="726" y="1806"/>
                </a:lnTo>
                <a:lnTo>
                  <a:pt x="714" y="1776"/>
                </a:lnTo>
                <a:lnTo>
                  <a:pt x="756" y="1740"/>
                </a:lnTo>
                <a:lnTo>
                  <a:pt x="786" y="1710"/>
                </a:lnTo>
                <a:lnTo>
                  <a:pt x="798" y="1704"/>
                </a:lnTo>
                <a:lnTo>
                  <a:pt x="774" y="1674"/>
                </a:lnTo>
                <a:lnTo>
                  <a:pt x="780" y="1662"/>
                </a:lnTo>
                <a:lnTo>
                  <a:pt x="792" y="1644"/>
                </a:lnTo>
                <a:lnTo>
                  <a:pt x="786" y="1644"/>
                </a:lnTo>
                <a:lnTo>
                  <a:pt x="774" y="1638"/>
                </a:lnTo>
                <a:lnTo>
                  <a:pt x="780" y="1626"/>
                </a:lnTo>
                <a:lnTo>
                  <a:pt x="780" y="1614"/>
                </a:lnTo>
                <a:lnTo>
                  <a:pt x="768" y="1608"/>
                </a:lnTo>
                <a:lnTo>
                  <a:pt x="768" y="1590"/>
                </a:lnTo>
                <a:lnTo>
                  <a:pt x="726" y="1596"/>
                </a:lnTo>
                <a:lnTo>
                  <a:pt x="720" y="1596"/>
                </a:lnTo>
                <a:lnTo>
                  <a:pt x="708" y="1590"/>
                </a:lnTo>
                <a:lnTo>
                  <a:pt x="696" y="1584"/>
                </a:lnTo>
                <a:lnTo>
                  <a:pt x="684" y="1596"/>
                </a:lnTo>
                <a:lnTo>
                  <a:pt x="672" y="1602"/>
                </a:lnTo>
                <a:lnTo>
                  <a:pt x="666" y="1596"/>
                </a:lnTo>
                <a:lnTo>
                  <a:pt x="660" y="1584"/>
                </a:lnTo>
                <a:lnTo>
                  <a:pt x="642" y="1572"/>
                </a:lnTo>
                <a:lnTo>
                  <a:pt x="612" y="1572"/>
                </a:lnTo>
                <a:lnTo>
                  <a:pt x="594" y="1572"/>
                </a:lnTo>
                <a:lnTo>
                  <a:pt x="540" y="1572"/>
                </a:lnTo>
                <a:lnTo>
                  <a:pt x="510" y="1560"/>
                </a:lnTo>
                <a:lnTo>
                  <a:pt x="498" y="1548"/>
                </a:lnTo>
                <a:lnTo>
                  <a:pt x="480" y="1536"/>
                </a:lnTo>
                <a:lnTo>
                  <a:pt x="462" y="1530"/>
                </a:lnTo>
                <a:lnTo>
                  <a:pt x="456" y="1536"/>
                </a:lnTo>
                <a:lnTo>
                  <a:pt x="456" y="1542"/>
                </a:lnTo>
                <a:lnTo>
                  <a:pt x="456" y="1566"/>
                </a:lnTo>
                <a:lnTo>
                  <a:pt x="438" y="1560"/>
                </a:lnTo>
                <a:lnTo>
                  <a:pt x="426" y="1530"/>
                </a:lnTo>
                <a:lnTo>
                  <a:pt x="414" y="1506"/>
                </a:lnTo>
                <a:lnTo>
                  <a:pt x="408" y="1494"/>
                </a:lnTo>
                <a:lnTo>
                  <a:pt x="390" y="1494"/>
                </a:lnTo>
                <a:lnTo>
                  <a:pt x="384" y="1494"/>
                </a:lnTo>
                <a:lnTo>
                  <a:pt x="384" y="1488"/>
                </a:lnTo>
                <a:lnTo>
                  <a:pt x="384" y="1482"/>
                </a:lnTo>
                <a:lnTo>
                  <a:pt x="378" y="1482"/>
                </a:lnTo>
                <a:lnTo>
                  <a:pt x="366" y="1482"/>
                </a:lnTo>
                <a:lnTo>
                  <a:pt x="360" y="1476"/>
                </a:lnTo>
                <a:lnTo>
                  <a:pt x="390" y="1410"/>
                </a:lnTo>
                <a:lnTo>
                  <a:pt x="390" y="1386"/>
                </a:lnTo>
                <a:lnTo>
                  <a:pt x="384" y="1344"/>
                </a:lnTo>
                <a:lnTo>
                  <a:pt x="378" y="1296"/>
                </a:lnTo>
                <a:lnTo>
                  <a:pt x="378" y="1266"/>
                </a:lnTo>
                <a:lnTo>
                  <a:pt x="372" y="1218"/>
                </a:lnTo>
                <a:lnTo>
                  <a:pt x="372" y="1194"/>
                </a:lnTo>
                <a:lnTo>
                  <a:pt x="354" y="1164"/>
                </a:lnTo>
                <a:lnTo>
                  <a:pt x="348" y="1164"/>
                </a:lnTo>
                <a:lnTo>
                  <a:pt x="342" y="1152"/>
                </a:lnTo>
                <a:lnTo>
                  <a:pt x="330" y="1134"/>
                </a:lnTo>
                <a:lnTo>
                  <a:pt x="318" y="1116"/>
                </a:lnTo>
                <a:lnTo>
                  <a:pt x="306" y="1080"/>
                </a:lnTo>
                <a:lnTo>
                  <a:pt x="306" y="1068"/>
                </a:lnTo>
                <a:lnTo>
                  <a:pt x="294" y="1068"/>
                </a:lnTo>
                <a:lnTo>
                  <a:pt x="294" y="1056"/>
                </a:lnTo>
                <a:lnTo>
                  <a:pt x="306" y="1050"/>
                </a:lnTo>
                <a:lnTo>
                  <a:pt x="294" y="1014"/>
                </a:lnTo>
                <a:lnTo>
                  <a:pt x="312" y="978"/>
                </a:lnTo>
                <a:lnTo>
                  <a:pt x="300" y="960"/>
                </a:lnTo>
                <a:lnTo>
                  <a:pt x="270" y="960"/>
                </a:lnTo>
                <a:lnTo>
                  <a:pt x="270" y="954"/>
                </a:lnTo>
                <a:lnTo>
                  <a:pt x="258" y="948"/>
                </a:lnTo>
                <a:lnTo>
                  <a:pt x="258" y="936"/>
                </a:lnTo>
                <a:lnTo>
                  <a:pt x="240" y="924"/>
                </a:lnTo>
                <a:lnTo>
                  <a:pt x="252" y="912"/>
                </a:lnTo>
                <a:lnTo>
                  <a:pt x="258" y="888"/>
                </a:lnTo>
                <a:lnTo>
                  <a:pt x="258" y="882"/>
                </a:lnTo>
                <a:lnTo>
                  <a:pt x="258" y="876"/>
                </a:lnTo>
                <a:lnTo>
                  <a:pt x="246" y="858"/>
                </a:lnTo>
                <a:lnTo>
                  <a:pt x="246" y="828"/>
                </a:lnTo>
                <a:lnTo>
                  <a:pt x="234" y="810"/>
                </a:lnTo>
                <a:lnTo>
                  <a:pt x="228" y="804"/>
                </a:lnTo>
                <a:lnTo>
                  <a:pt x="210" y="792"/>
                </a:lnTo>
                <a:lnTo>
                  <a:pt x="186" y="786"/>
                </a:lnTo>
                <a:lnTo>
                  <a:pt x="156" y="774"/>
                </a:lnTo>
                <a:lnTo>
                  <a:pt x="144" y="792"/>
                </a:lnTo>
                <a:lnTo>
                  <a:pt x="120" y="810"/>
                </a:lnTo>
                <a:lnTo>
                  <a:pt x="96" y="828"/>
                </a:lnTo>
                <a:lnTo>
                  <a:pt x="90" y="828"/>
                </a:lnTo>
                <a:lnTo>
                  <a:pt x="60" y="810"/>
                </a:lnTo>
                <a:lnTo>
                  <a:pt x="54" y="786"/>
                </a:lnTo>
                <a:lnTo>
                  <a:pt x="18" y="786"/>
                </a:lnTo>
                <a:lnTo>
                  <a:pt x="6" y="762"/>
                </a:lnTo>
                <a:lnTo>
                  <a:pt x="12" y="750"/>
                </a:lnTo>
                <a:lnTo>
                  <a:pt x="12" y="732"/>
                </a:lnTo>
                <a:lnTo>
                  <a:pt x="12" y="708"/>
                </a:lnTo>
                <a:lnTo>
                  <a:pt x="12" y="690"/>
                </a:lnTo>
                <a:lnTo>
                  <a:pt x="0" y="672"/>
                </a:lnTo>
                <a:lnTo>
                  <a:pt x="0" y="660"/>
                </a:lnTo>
                <a:lnTo>
                  <a:pt x="6" y="660"/>
                </a:lnTo>
                <a:lnTo>
                  <a:pt x="18" y="690"/>
                </a:lnTo>
                <a:lnTo>
                  <a:pt x="30" y="690"/>
                </a:lnTo>
                <a:lnTo>
                  <a:pt x="36" y="696"/>
                </a:lnTo>
                <a:lnTo>
                  <a:pt x="54" y="714"/>
                </a:lnTo>
                <a:lnTo>
                  <a:pt x="72" y="714"/>
                </a:lnTo>
                <a:lnTo>
                  <a:pt x="66" y="696"/>
                </a:lnTo>
                <a:lnTo>
                  <a:pt x="54" y="678"/>
                </a:lnTo>
                <a:lnTo>
                  <a:pt x="42" y="666"/>
                </a:lnTo>
                <a:lnTo>
                  <a:pt x="42" y="654"/>
                </a:lnTo>
                <a:lnTo>
                  <a:pt x="60" y="654"/>
                </a:lnTo>
                <a:lnTo>
                  <a:pt x="84" y="654"/>
                </a:lnTo>
                <a:lnTo>
                  <a:pt x="84" y="648"/>
                </a:lnTo>
                <a:lnTo>
                  <a:pt x="90" y="642"/>
                </a:lnTo>
                <a:lnTo>
                  <a:pt x="84" y="630"/>
                </a:lnTo>
                <a:lnTo>
                  <a:pt x="66" y="624"/>
                </a:lnTo>
                <a:lnTo>
                  <a:pt x="66" y="618"/>
                </a:lnTo>
                <a:lnTo>
                  <a:pt x="72" y="594"/>
                </a:lnTo>
                <a:lnTo>
                  <a:pt x="84" y="600"/>
                </a:lnTo>
                <a:lnTo>
                  <a:pt x="90" y="606"/>
                </a:lnTo>
                <a:lnTo>
                  <a:pt x="114" y="594"/>
                </a:lnTo>
                <a:lnTo>
                  <a:pt x="120" y="600"/>
                </a:lnTo>
                <a:lnTo>
                  <a:pt x="132" y="594"/>
                </a:lnTo>
                <a:lnTo>
                  <a:pt x="132" y="582"/>
                </a:lnTo>
                <a:lnTo>
                  <a:pt x="132" y="576"/>
                </a:lnTo>
                <a:lnTo>
                  <a:pt x="132" y="570"/>
                </a:lnTo>
                <a:lnTo>
                  <a:pt x="144" y="570"/>
                </a:lnTo>
                <a:lnTo>
                  <a:pt x="150" y="564"/>
                </a:lnTo>
                <a:lnTo>
                  <a:pt x="156" y="552"/>
                </a:lnTo>
                <a:lnTo>
                  <a:pt x="162" y="546"/>
                </a:lnTo>
                <a:lnTo>
                  <a:pt x="174" y="540"/>
                </a:lnTo>
                <a:lnTo>
                  <a:pt x="192" y="534"/>
                </a:lnTo>
                <a:lnTo>
                  <a:pt x="198" y="522"/>
                </a:lnTo>
                <a:lnTo>
                  <a:pt x="204" y="522"/>
                </a:lnTo>
                <a:lnTo>
                  <a:pt x="204" y="516"/>
                </a:lnTo>
                <a:lnTo>
                  <a:pt x="198" y="504"/>
                </a:lnTo>
                <a:lnTo>
                  <a:pt x="192" y="492"/>
                </a:lnTo>
                <a:lnTo>
                  <a:pt x="186" y="480"/>
                </a:lnTo>
                <a:lnTo>
                  <a:pt x="192" y="462"/>
                </a:lnTo>
                <a:lnTo>
                  <a:pt x="222" y="462"/>
                </a:lnTo>
                <a:lnTo>
                  <a:pt x="234" y="486"/>
                </a:lnTo>
                <a:lnTo>
                  <a:pt x="252" y="474"/>
                </a:lnTo>
                <a:lnTo>
                  <a:pt x="246" y="456"/>
                </a:lnTo>
                <a:lnTo>
                  <a:pt x="246" y="432"/>
                </a:lnTo>
                <a:lnTo>
                  <a:pt x="252" y="414"/>
                </a:lnTo>
                <a:lnTo>
                  <a:pt x="252" y="402"/>
                </a:lnTo>
                <a:lnTo>
                  <a:pt x="264" y="384"/>
                </a:lnTo>
                <a:lnTo>
                  <a:pt x="264" y="360"/>
                </a:lnTo>
                <a:lnTo>
                  <a:pt x="276" y="342"/>
                </a:lnTo>
                <a:lnTo>
                  <a:pt x="282" y="330"/>
                </a:lnTo>
                <a:lnTo>
                  <a:pt x="294" y="330"/>
                </a:lnTo>
                <a:lnTo>
                  <a:pt x="288" y="312"/>
                </a:lnTo>
                <a:lnTo>
                  <a:pt x="282" y="306"/>
                </a:lnTo>
                <a:lnTo>
                  <a:pt x="276" y="288"/>
                </a:lnTo>
                <a:lnTo>
                  <a:pt x="264" y="282"/>
                </a:lnTo>
                <a:lnTo>
                  <a:pt x="258" y="264"/>
                </a:lnTo>
                <a:lnTo>
                  <a:pt x="240" y="258"/>
                </a:lnTo>
                <a:lnTo>
                  <a:pt x="246" y="246"/>
                </a:lnTo>
                <a:lnTo>
                  <a:pt x="258" y="234"/>
                </a:lnTo>
                <a:lnTo>
                  <a:pt x="282" y="228"/>
                </a:lnTo>
                <a:lnTo>
                  <a:pt x="276" y="198"/>
                </a:lnTo>
                <a:lnTo>
                  <a:pt x="276" y="180"/>
                </a:lnTo>
                <a:lnTo>
                  <a:pt x="288" y="162"/>
                </a:lnTo>
                <a:lnTo>
                  <a:pt x="300" y="150"/>
                </a:lnTo>
                <a:lnTo>
                  <a:pt x="306" y="144"/>
                </a:lnTo>
                <a:lnTo>
                  <a:pt x="306" y="138"/>
                </a:lnTo>
                <a:lnTo>
                  <a:pt x="306" y="132"/>
                </a:lnTo>
                <a:lnTo>
                  <a:pt x="300" y="126"/>
                </a:lnTo>
                <a:lnTo>
                  <a:pt x="300" y="132"/>
                </a:lnTo>
                <a:lnTo>
                  <a:pt x="288" y="132"/>
                </a:lnTo>
                <a:lnTo>
                  <a:pt x="282" y="138"/>
                </a:lnTo>
                <a:lnTo>
                  <a:pt x="282" y="144"/>
                </a:lnTo>
                <a:lnTo>
                  <a:pt x="270" y="150"/>
                </a:lnTo>
                <a:lnTo>
                  <a:pt x="258" y="132"/>
                </a:lnTo>
                <a:lnTo>
                  <a:pt x="258" y="120"/>
                </a:lnTo>
                <a:lnTo>
                  <a:pt x="258" y="102"/>
                </a:lnTo>
                <a:lnTo>
                  <a:pt x="276" y="90"/>
                </a:lnTo>
                <a:lnTo>
                  <a:pt x="282" y="72"/>
                </a:lnTo>
                <a:lnTo>
                  <a:pt x="282" y="60"/>
                </a:lnTo>
                <a:lnTo>
                  <a:pt x="288" y="36"/>
                </a:lnTo>
                <a:lnTo>
                  <a:pt x="306" y="42"/>
                </a:lnTo>
                <a:lnTo>
                  <a:pt x="330" y="48"/>
                </a:lnTo>
                <a:lnTo>
                  <a:pt x="336" y="36"/>
                </a:lnTo>
                <a:lnTo>
                  <a:pt x="354" y="18"/>
                </a:lnTo>
                <a:lnTo>
                  <a:pt x="378" y="24"/>
                </a:lnTo>
                <a:lnTo>
                  <a:pt x="390" y="30"/>
                </a:lnTo>
                <a:lnTo>
                  <a:pt x="396" y="30"/>
                </a:lnTo>
                <a:lnTo>
                  <a:pt x="408" y="42"/>
                </a:lnTo>
                <a:lnTo>
                  <a:pt x="426" y="42"/>
                </a:lnTo>
                <a:lnTo>
                  <a:pt x="438" y="42"/>
                </a:lnTo>
                <a:lnTo>
                  <a:pt x="450" y="54"/>
                </a:lnTo>
                <a:lnTo>
                  <a:pt x="462" y="60"/>
                </a:lnTo>
                <a:lnTo>
                  <a:pt x="474" y="66"/>
                </a:lnTo>
                <a:lnTo>
                  <a:pt x="486" y="72"/>
                </a:lnTo>
                <a:lnTo>
                  <a:pt x="504" y="78"/>
                </a:lnTo>
                <a:lnTo>
                  <a:pt x="510" y="102"/>
                </a:lnTo>
                <a:lnTo>
                  <a:pt x="528" y="108"/>
                </a:lnTo>
                <a:lnTo>
                  <a:pt x="540" y="108"/>
                </a:lnTo>
                <a:lnTo>
                  <a:pt x="540" y="96"/>
                </a:lnTo>
                <a:lnTo>
                  <a:pt x="546" y="84"/>
                </a:lnTo>
                <a:lnTo>
                  <a:pt x="582" y="66"/>
                </a:lnTo>
                <a:lnTo>
                  <a:pt x="612" y="66"/>
                </a:lnTo>
                <a:lnTo>
                  <a:pt x="618" y="72"/>
                </a:lnTo>
                <a:lnTo>
                  <a:pt x="636" y="66"/>
                </a:lnTo>
                <a:lnTo>
                  <a:pt x="648" y="60"/>
                </a:lnTo>
                <a:lnTo>
                  <a:pt x="666" y="66"/>
                </a:lnTo>
                <a:lnTo>
                  <a:pt x="672" y="66"/>
                </a:lnTo>
                <a:lnTo>
                  <a:pt x="678" y="66"/>
                </a:lnTo>
                <a:lnTo>
                  <a:pt x="684" y="66"/>
                </a:lnTo>
                <a:lnTo>
                  <a:pt x="696" y="54"/>
                </a:lnTo>
                <a:lnTo>
                  <a:pt x="702" y="48"/>
                </a:lnTo>
                <a:lnTo>
                  <a:pt x="744" y="42"/>
                </a:lnTo>
                <a:lnTo>
                  <a:pt x="774" y="36"/>
                </a:lnTo>
                <a:lnTo>
                  <a:pt x="798" y="24"/>
                </a:lnTo>
                <a:lnTo>
                  <a:pt x="804" y="12"/>
                </a:lnTo>
                <a:lnTo>
                  <a:pt x="804" y="6"/>
                </a:lnTo>
                <a:lnTo>
                  <a:pt x="828" y="0"/>
                </a:lnTo>
                <a:lnTo>
                  <a:pt x="852" y="0"/>
                </a:lnTo>
                <a:lnTo>
                  <a:pt x="888" y="6"/>
                </a:lnTo>
                <a:lnTo>
                  <a:pt x="888" y="18"/>
                </a:lnTo>
                <a:lnTo>
                  <a:pt x="882" y="24"/>
                </a:lnTo>
                <a:lnTo>
                  <a:pt x="876" y="36"/>
                </a:lnTo>
                <a:lnTo>
                  <a:pt x="882" y="54"/>
                </a:lnTo>
                <a:lnTo>
                  <a:pt x="894" y="66"/>
                </a:lnTo>
                <a:lnTo>
                  <a:pt x="888" y="96"/>
                </a:lnTo>
                <a:lnTo>
                  <a:pt x="900" y="96"/>
                </a:lnTo>
                <a:lnTo>
                  <a:pt x="912" y="96"/>
                </a:lnTo>
                <a:lnTo>
                  <a:pt x="900" y="120"/>
                </a:lnTo>
                <a:lnTo>
                  <a:pt x="894" y="138"/>
                </a:lnTo>
                <a:lnTo>
                  <a:pt x="900" y="162"/>
                </a:lnTo>
                <a:lnTo>
                  <a:pt x="906" y="186"/>
                </a:lnTo>
                <a:lnTo>
                  <a:pt x="900" y="216"/>
                </a:lnTo>
                <a:lnTo>
                  <a:pt x="900" y="246"/>
                </a:lnTo>
                <a:lnTo>
                  <a:pt x="900" y="270"/>
                </a:lnTo>
                <a:lnTo>
                  <a:pt x="924" y="288"/>
                </a:lnTo>
                <a:lnTo>
                  <a:pt x="942" y="294"/>
                </a:lnTo>
                <a:lnTo>
                  <a:pt x="966" y="294"/>
                </a:lnTo>
                <a:lnTo>
                  <a:pt x="984" y="300"/>
                </a:lnTo>
                <a:lnTo>
                  <a:pt x="1002" y="318"/>
                </a:lnTo>
                <a:lnTo>
                  <a:pt x="1008" y="324"/>
                </a:lnTo>
                <a:lnTo>
                  <a:pt x="1008" y="336"/>
                </a:lnTo>
                <a:lnTo>
                  <a:pt x="1026" y="342"/>
                </a:lnTo>
                <a:lnTo>
                  <a:pt x="1038" y="366"/>
                </a:lnTo>
                <a:lnTo>
                  <a:pt x="1044" y="384"/>
                </a:lnTo>
                <a:lnTo>
                  <a:pt x="1056" y="390"/>
                </a:lnTo>
                <a:lnTo>
                  <a:pt x="1068" y="378"/>
                </a:lnTo>
                <a:lnTo>
                  <a:pt x="1074" y="378"/>
                </a:lnTo>
                <a:lnTo>
                  <a:pt x="1104" y="378"/>
                </a:lnTo>
                <a:lnTo>
                  <a:pt x="1110" y="378"/>
                </a:lnTo>
                <a:lnTo>
                  <a:pt x="1116" y="360"/>
                </a:lnTo>
                <a:lnTo>
                  <a:pt x="1128" y="360"/>
                </a:lnTo>
                <a:lnTo>
                  <a:pt x="1152" y="396"/>
                </a:lnTo>
                <a:lnTo>
                  <a:pt x="1170" y="390"/>
                </a:lnTo>
                <a:lnTo>
                  <a:pt x="1182" y="396"/>
                </a:lnTo>
                <a:lnTo>
                  <a:pt x="1194" y="402"/>
                </a:lnTo>
                <a:lnTo>
                  <a:pt x="1206" y="402"/>
                </a:lnTo>
                <a:lnTo>
                  <a:pt x="1230" y="402"/>
                </a:lnTo>
                <a:lnTo>
                  <a:pt x="1230" y="414"/>
                </a:lnTo>
                <a:lnTo>
                  <a:pt x="1236" y="432"/>
                </a:lnTo>
                <a:lnTo>
                  <a:pt x="1248" y="438"/>
                </a:lnTo>
                <a:lnTo>
                  <a:pt x="1248" y="420"/>
                </a:lnTo>
                <a:lnTo>
                  <a:pt x="1284" y="426"/>
                </a:lnTo>
                <a:lnTo>
                  <a:pt x="1296" y="444"/>
                </a:lnTo>
                <a:lnTo>
                  <a:pt x="1314" y="444"/>
                </a:lnTo>
                <a:lnTo>
                  <a:pt x="1326" y="456"/>
                </a:lnTo>
                <a:lnTo>
                  <a:pt x="1344" y="444"/>
                </a:lnTo>
                <a:lnTo>
                  <a:pt x="1350" y="438"/>
                </a:lnTo>
                <a:lnTo>
                  <a:pt x="1350" y="432"/>
                </a:lnTo>
                <a:lnTo>
                  <a:pt x="1350" y="420"/>
                </a:lnTo>
                <a:lnTo>
                  <a:pt x="1368" y="402"/>
                </a:lnTo>
                <a:lnTo>
                  <a:pt x="1368" y="378"/>
                </a:lnTo>
                <a:lnTo>
                  <a:pt x="1380" y="366"/>
                </a:lnTo>
                <a:lnTo>
                  <a:pt x="1380" y="360"/>
                </a:lnTo>
                <a:lnTo>
                  <a:pt x="1386" y="354"/>
                </a:lnTo>
                <a:lnTo>
                  <a:pt x="1380" y="348"/>
                </a:lnTo>
                <a:lnTo>
                  <a:pt x="1362" y="348"/>
                </a:lnTo>
                <a:lnTo>
                  <a:pt x="1368" y="336"/>
                </a:lnTo>
                <a:lnTo>
                  <a:pt x="1374" y="330"/>
                </a:lnTo>
                <a:lnTo>
                  <a:pt x="1410" y="312"/>
                </a:lnTo>
                <a:lnTo>
                  <a:pt x="1428" y="306"/>
                </a:lnTo>
                <a:lnTo>
                  <a:pt x="1434" y="318"/>
                </a:lnTo>
                <a:lnTo>
                  <a:pt x="1440" y="324"/>
                </a:lnTo>
                <a:lnTo>
                  <a:pt x="1452" y="324"/>
                </a:lnTo>
                <a:lnTo>
                  <a:pt x="1464" y="330"/>
                </a:lnTo>
                <a:lnTo>
                  <a:pt x="1476" y="342"/>
                </a:lnTo>
                <a:lnTo>
                  <a:pt x="1506" y="336"/>
                </a:lnTo>
                <a:lnTo>
                  <a:pt x="1506" y="366"/>
                </a:lnTo>
                <a:lnTo>
                  <a:pt x="1500" y="384"/>
                </a:lnTo>
                <a:lnTo>
                  <a:pt x="1512" y="396"/>
                </a:lnTo>
                <a:lnTo>
                  <a:pt x="1530" y="402"/>
                </a:lnTo>
                <a:lnTo>
                  <a:pt x="1536" y="402"/>
                </a:lnTo>
                <a:lnTo>
                  <a:pt x="1536" y="408"/>
                </a:lnTo>
                <a:lnTo>
                  <a:pt x="1542" y="414"/>
                </a:lnTo>
                <a:lnTo>
                  <a:pt x="1566" y="414"/>
                </a:lnTo>
                <a:lnTo>
                  <a:pt x="1560" y="432"/>
                </a:lnTo>
                <a:lnTo>
                  <a:pt x="1554" y="450"/>
                </a:lnTo>
                <a:lnTo>
                  <a:pt x="1560" y="468"/>
                </a:lnTo>
                <a:lnTo>
                  <a:pt x="1578" y="468"/>
                </a:lnTo>
                <a:lnTo>
                  <a:pt x="1590" y="480"/>
                </a:lnTo>
                <a:lnTo>
                  <a:pt x="1596" y="492"/>
                </a:lnTo>
                <a:lnTo>
                  <a:pt x="1608" y="486"/>
                </a:lnTo>
                <a:lnTo>
                  <a:pt x="1602" y="474"/>
                </a:lnTo>
                <a:lnTo>
                  <a:pt x="1620" y="456"/>
                </a:lnTo>
                <a:lnTo>
                  <a:pt x="1626" y="438"/>
                </a:lnTo>
                <a:lnTo>
                  <a:pt x="1626" y="420"/>
                </a:lnTo>
                <a:lnTo>
                  <a:pt x="1620" y="402"/>
                </a:lnTo>
                <a:lnTo>
                  <a:pt x="1632" y="396"/>
                </a:lnTo>
                <a:lnTo>
                  <a:pt x="1650" y="390"/>
                </a:lnTo>
                <a:lnTo>
                  <a:pt x="1674" y="402"/>
                </a:lnTo>
                <a:lnTo>
                  <a:pt x="1692" y="408"/>
                </a:lnTo>
                <a:lnTo>
                  <a:pt x="1692" y="432"/>
                </a:lnTo>
                <a:lnTo>
                  <a:pt x="1692" y="444"/>
                </a:lnTo>
                <a:lnTo>
                  <a:pt x="1698" y="450"/>
                </a:lnTo>
                <a:lnTo>
                  <a:pt x="1692" y="468"/>
                </a:lnTo>
                <a:lnTo>
                  <a:pt x="1710" y="474"/>
                </a:lnTo>
                <a:lnTo>
                  <a:pt x="1722" y="492"/>
                </a:lnTo>
                <a:lnTo>
                  <a:pt x="1722" y="498"/>
                </a:lnTo>
                <a:lnTo>
                  <a:pt x="1728" y="522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  <a:p>
            <a:pPr eaLnBrk="1" hangingPunct="1">
              <a:lnSpc>
                <a:spcPct val="85000"/>
              </a:lnSpc>
              <a:defRPr/>
            </a:pPr>
            <a:endParaRPr lang="en-US" sz="9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76" name="Rectangle 80"/>
          <p:cNvSpPr/>
          <p:nvPr>
            <p:custDataLst>
              <p:tags r:id="rId3"/>
            </p:custDataLst>
          </p:nvPr>
        </p:nvSpPr>
        <p:spPr bwMode="auto">
          <a:xfrm>
            <a:off x="7770813" y="5516563"/>
            <a:ext cx="109537" cy="109537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7" name="Rectangle 91"/>
          <p:cNvSpPr/>
          <p:nvPr>
            <p:custDataLst>
              <p:tags r:id="rId4"/>
            </p:custDataLst>
          </p:nvPr>
        </p:nvSpPr>
        <p:spPr bwMode="auto">
          <a:xfrm>
            <a:off x="7770813" y="5745163"/>
            <a:ext cx="109537" cy="1111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hangingPunct="1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22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931150" y="5740400"/>
            <a:ext cx="6540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457200" indent="-261938" defTabSz="89535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614363" indent="-155575" defTabSz="8953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749300" indent="-130175" defTabSz="89535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12065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16637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21209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25781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hu-HU" altLang="hu-HU" sz="1000" b="1" dirty="0" err="1">
                <a:sym typeface="+mn-lt"/>
              </a:rPr>
              <a:t>Job-seeker</a:t>
            </a:r>
            <a:endParaRPr lang="en-US" altLang="hu-HU" sz="1000" b="1" dirty="0">
              <a:sym typeface="+mn-lt"/>
            </a:endParaRPr>
          </a:p>
        </p:txBody>
      </p:sp>
      <p:sp>
        <p:nvSpPr>
          <p:cNvPr id="822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931150" y="5510213"/>
            <a:ext cx="53816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457200" indent="-261938" defTabSz="89535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614363" indent="-155575" defTabSz="8953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749300" indent="-130175" defTabSz="89535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12065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16637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21209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2578100" indent="-130175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hu-HU" altLang="hu-HU" sz="1000" b="1" dirty="0">
                <a:sym typeface="+mn-lt"/>
              </a:rPr>
              <a:t>Public </a:t>
            </a:r>
            <a:r>
              <a:rPr lang="hu-HU" altLang="hu-HU" sz="1000" b="1" dirty="0" err="1">
                <a:sym typeface="+mn-lt"/>
              </a:rPr>
              <a:t>worker</a:t>
            </a:r>
            <a:endParaRPr lang="en-US" altLang="hu-HU" sz="1000" b="1" dirty="0">
              <a:sym typeface="+mn-lt"/>
            </a:endParaRPr>
          </a:p>
        </p:txBody>
      </p:sp>
      <p:cxnSp>
        <p:nvCxnSpPr>
          <p:cNvPr id="55" name="AutoShape 249"/>
          <p:cNvCxnSpPr>
            <a:cxnSpLocks noChangeShapeType="1"/>
          </p:cNvCxnSpPr>
          <p:nvPr/>
        </p:nvCxnSpPr>
        <p:spPr bwMode="gray">
          <a:xfrm>
            <a:off x="122238" y="-366713"/>
            <a:ext cx="3960812" cy="0"/>
          </a:xfrm>
          <a:prstGeom prst="straightConnector1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07" name="Diagram 106"/>
          <p:cNvGraphicFramePr>
            <a:graphicFrameLocks/>
          </p:cNvGraphicFramePr>
          <p:nvPr/>
        </p:nvGraphicFramePr>
        <p:xfrm>
          <a:off x="3468658" y="2726513"/>
          <a:ext cx="872624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08" name="Diagram 107"/>
          <p:cNvGraphicFramePr>
            <a:graphicFrameLocks/>
          </p:cNvGraphicFramePr>
          <p:nvPr/>
        </p:nvGraphicFramePr>
        <p:xfrm>
          <a:off x="2417891" y="5739635"/>
          <a:ext cx="872624" cy="854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9" name="Diagram 108"/>
          <p:cNvGraphicFramePr>
            <a:graphicFrameLocks/>
          </p:cNvGraphicFramePr>
          <p:nvPr/>
        </p:nvGraphicFramePr>
        <p:xfrm>
          <a:off x="4017276" y="4487385"/>
          <a:ext cx="872624" cy="85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10" name="Diagram 109"/>
          <p:cNvGraphicFramePr>
            <a:graphicFrameLocks/>
          </p:cNvGraphicFramePr>
          <p:nvPr/>
        </p:nvGraphicFramePr>
        <p:xfrm>
          <a:off x="6062472" y="3867443"/>
          <a:ext cx="880660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11" name="Diagram 110"/>
          <p:cNvGraphicFramePr>
            <a:graphicFrameLocks/>
          </p:cNvGraphicFramePr>
          <p:nvPr/>
        </p:nvGraphicFramePr>
        <p:xfrm>
          <a:off x="5469914" y="1214616"/>
          <a:ext cx="880660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12" name="Diagram 111"/>
          <p:cNvGraphicFramePr>
            <a:graphicFrameLocks/>
          </p:cNvGraphicFramePr>
          <p:nvPr/>
        </p:nvGraphicFramePr>
        <p:xfrm>
          <a:off x="5201425" y="4720044"/>
          <a:ext cx="880660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113" name="Diagram 112"/>
          <p:cNvGraphicFramePr>
            <a:graphicFrameLocks/>
          </p:cNvGraphicFramePr>
          <p:nvPr/>
        </p:nvGraphicFramePr>
        <p:xfrm>
          <a:off x="2785411" y="3528127"/>
          <a:ext cx="872624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14" name="Diagram 113"/>
          <p:cNvGraphicFramePr>
            <a:graphicFrameLocks/>
          </p:cNvGraphicFramePr>
          <p:nvPr/>
        </p:nvGraphicFramePr>
        <p:xfrm>
          <a:off x="1052535" y="2700351"/>
          <a:ext cx="872624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15" name="Diagram 114"/>
          <p:cNvGraphicFramePr>
            <a:graphicFrameLocks/>
          </p:cNvGraphicFramePr>
          <p:nvPr/>
        </p:nvGraphicFramePr>
        <p:xfrm>
          <a:off x="4768136" y="2021615"/>
          <a:ext cx="880660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16" name="Diagram 115"/>
          <p:cNvGraphicFramePr>
            <a:graphicFrameLocks/>
          </p:cNvGraphicFramePr>
          <p:nvPr/>
        </p:nvGraphicFramePr>
        <p:xfrm>
          <a:off x="5339836" y="2986562"/>
          <a:ext cx="880660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117" name="Diagram 116"/>
          <p:cNvGraphicFramePr>
            <a:graphicFrameLocks/>
          </p:cNvGraphicFramePr>
          <p:nvPr/>
        </p:nvGraphicFramePr>
        <p:xfrm>
          <a:off x="6339750" y="2368558"/>
          <a:ext cx="872624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118" name="Diagram 117"/>
          <p:cNvGraphicFramePr>
            <a:graphicFrameLocks/>
          </p:cNvGraphicFramePr>
          <p:nvPr/>
        </p:nvGraphicFramePr>
        <p:xfrm>
          <a:off x="3794828" y="1810043"/>
          <a:ext cx="872624" cy="85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119" name="Diagram 118"/>
          <p:cNvGraphicFramePr>
            <a:graphicFrameLocks/>
          </p:cNvGraphicFramePr>
          <p:nvPr/>
        </p:nvGraphicFramePr>
        <p:xfrm>
          <a:off x="4032487" y="3161429"/>
          <a:ext cx="872624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120" name="Diagram 119"/>
          <p:cNvGraphicFramePr>
            <a:graphicFrameLocks/>
          </p:cNvGraphicFramePr>
          <p:nvPr/>
        </p:nvGraphicFramePr>
        <p:xfrm>
          <a:off x="7118408" y="1248985"/>
          <a:ext cx="880660" cy="85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21" name="Diagram 120"/>
          <p:cNvGraphicFramePr>
            <a:graphicFrameLocks/>
          </p:cNvGraphicFramePr>
          <p:nvPr/>
        </p:nvGraphicFramePr>
        <p:xfrm>
          <a:off x="2894313" y="4671386"/>
          <a:ext cx="860895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122" name="Diagram 121"/>
          <p:cNvGraphicFramePr>
            <a:graphicFrameLocks/>
          </p:cNvGraphicFramePr>
          <p:nvPr/>
        </p:nvGraphicFramePr>
        <p:xfrm>
          <a:off x="748487" y="4717298"/>
          <a:ext cx="880660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123" name="Diagram 122"/>
          <p:cNvGraphicFramePr>
            <a:graphicFrameLocks/>
          </p:cNvGraphicFramePr>
          <p:nvPr/>
        </p:nvGraphicFramePr>
        <p:xfrm>
          <a:off x="2305802" y="2582480"/>
          <a:ext cx="868311" cy="862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124" name="Diagram 123"/>
          <p:cNvGraphicFramePr>
            <a:graphicFrameLocks/>
          </p:cNvGraphicFramePr>
          <p:nvPr/>
        </p:nvGraphicFramePr>
        <p:xfrm>
          <a:off x="1770369" y="4962926"/>
          <a:ext cx="872624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125" name="Diagram 124"/>
          <p:cNvGraphicFramePr>
            <a:graphicFrameLocks/>
          </p:cNvGraphicFramePr>
          <p:nvPr/>
        </p:nvGraphicFramePr>
        <p:xfrm>
          <a:off x="497614" y="3734878"/>
          <a:ext cx="868311" cy="86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126" name="Diagram 125"/>
          <p:cNvGraphicFramePr>
            <a:graphicFrameLocks/>
          </p:cNvGraphicFramePr>
          <p:nvPr/>
        </p:nvGraphicFramePr>
        <p:xfrm>
          <a:off x="1632045" y="3730150"/>
          <a:ext cx="872624" cy="862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83" name="Téglalap 82"/>
          <p:cNvSpPr/>
          <p:nvPr/>
        </p:nvSpPr>
        <p:spPr bwMode="gray">
          <a:xfrm>
            <a:off x="7065963" y="1338263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38</a:t>
            </a:r>
          </a:p>
        </p:txBody>
      </p:sp>
      <p:sp>
        <p:nvSpPr>
          <p:cNvPr id="84" name="Téglalap 83"/>
          <p:cNvSpPr/>
          <p:nvPr/>
        </p:nvSpPr>
        <p:spPr bwMode="gray">
          <a:xfrm>
            <a:off x="7232650" y="1419225"/>
            <a:ext cx="9667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33</a:t>
            </a:r>
          </a:p>
        </p:txBody>
      </p:sp>
      <p:sp>
        <p:nvSpPr>
          <p:cNvPr id="85" name="Téglalap 84"/>
          <p:cNvSpPr/>
          <p:nvPr/>
        </p:nvSpPr>
        <p:spPr bwMode="gray">
          <a:xfrm>
            <a:off x="6303963" y="2646363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23</a:t>
            </a:r>
          </a:p>
        </p:txBody>
      </p:sp>
      <p:sp>
        <p:nvSpPr>
          <p:cNvPr id="86" name="Téglalap 85"/>
          <p:cNvSpPr/>
          <p:nvPr/>
        </p:nvSpPr>
        <p:spPr bwMode="gray">
          <a:xfrm>
            <a:off x="6442075" y="2595563"/>
            <a:ext cx="968375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28</a:t>
            </a:r>
          </a:p>
        </p:txBody>
      </p:sp>
      <p:sp>
        <p:nvSpPr>
          <p:cNvPr id="87" name="Téglalap 86"/>
          <p:cNvSpPr/>
          <p:nvPr/>
        </p:nvSpPr>
        <p:spPr bwMode="gray">
          <a:xfrm>
            <a:off x="5294313" y="3367088"/>
            <a:ext cx="639762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4</a:t>
            </a:r>
          </a:p>
        </p:txBody>
      </p:sp>
      <p:sp>
        <p:nvSpPr>
          <p:cNvPr id="88" name="Téglalap 87"/>
          <p:cNvSpPr/>
          <p:nvPr/>
        </p:nvSpPr>
        <p:spPr bwMode="gray">
          <a:xfrm>
            <a:off x="5434013" y="3324225"/>
            <a:ext cx="9683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7</a:t>
            </a:r>
          </a:p>
        </p:txBody>
      </p:sp>
      <p:sp>
        <p:nvSpPr>
          <p:cNvPr id="89" name="Téglalap 88"/>
          <p:cNvSpPr/>
          <p:nvPr/>
        </p:nvSpPr>
        <p:spPr bwMode="gray">
          <a:xfrm>
            <a:off x="5443538" y="1296988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40</a:t>
            </a:r>
          </a:p>
        </p:txBody>
      </p:sp>
      <p:sp>
        <p:nvSpPr>
          <p:cNvPr id="90" name="Téglalap 89"/>
          <p:cNvSpPr/>
          <p:nvPr/>
        </p:nvSpPr>
        <p:spPr bwMode="gray">
          <a:xfrm>
            <a:off x="5740400" y="1284288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40</a:t>
            </a:r>
          </a:p>
        </p:txBody>
      </p:sp>
      <p:sp>
        <p:nvSpPr>
          <p:cNvPr id="91" name="Téglalap 90"/>
          <p:cNvSpPr/>
          <p:nvPr/>
        </p:nvSpPr>
        <p:spPr bwMode="gray">
          <a:xfrm>
            <a:off x="6030913" y="4221163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6</a:t>
            </a:r>
          </a:p>
        </p:txBody>
      </p:sp>
      <p:sp>
        <p:nvSpPr>
          <p:cNvPr id="92" name="Téglalap 91"/>
          <p:cNvSpPr/>
          <p:nvPr/>
        </p:nvSpPr>
        <p:spPr bwMode="gray">
          <a:xfrm>
            <a:off x="6303963" y="4267200"/>
            <a:ext cx="6397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2</a:t>
            </a:r>
          </a:p>
        </p:txBody>
      </p:sp>
      <p:sp>
        <p:nvSpPr>
          <p:cNvPr id="93" name="Téglalap 92"/>
          <p:cNvSpPr/>
          <p:nvPr/>
        </p:nvSpPr>
        <p:spPr bwMode="gray">
          <a:xfrm>
            <a:off x="5172075" y="5181600"/>
            <a:ext cx="6397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8</a:t>
            </a:r>
          </a:p>
        </p:txBody>
      </p:sp>
      <p:sp>
        <p:nvSpPr>
          <p:cNvPr id="94" name="Téglalap 93"/>
          <p:cNvSpPr/>
          <p:nvPr/>
        </p:nvSpPr>
        <p:spPr bwMode="gray">
          <a:xfrm>
            <a:off x="5457825" y="5140325"/>
            <a:ext cx="6397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0</a:t>
            </a:r>
          </a:p>
        </p:txBody>
      </p:sp>
      <p:sp>
        <p:nvSpPr>
          <p:cNvPr id="95" name="Téglalap 94"/>
          <p:cNvSpPr/>
          <p:nvPr/>
        </p:nvSpPr>
        <p:spPr bwMode="gray">
          <a:xfrm>
            <a:off x="4005263" y="4906963"/>
            <a:ext cx="638175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1</a:t>
            </a:r>
          </a:p>
        </p:txBody>
      </p:sp>
      <p:sp>
        <p:nvSpPr>
          <p:cNvPr id="96" name="Téglalap 95"/>
          <p:cNvSpPr/>
          <p:nvPr/>
        </p:nvSpPr>
        <p:spPr bwMode="gray">
          <a:xfrm>
            <a:off x="4265613" y="4811713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7</a:t>
            </a:r>
          </a:p>
        </p:txBody>
      </p:sp>
      <p:sp>
        <p:nvSpPr>
          <p:cNvPr id="97" name="Téglalap 96"/>
          <p:cNvSpPr/>
          <p:nvPr/>
        </p:nvSpPr>
        <p:spPr bwMode="gray">
          <a:xfrm>
            <a:off x="4760913" y="2476500"/>
            <a:ext cx="6381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8</a:t>
            </a:r>
          </a:p>
        </p:txBody>
      </p:sp>
      <p:sp>
        <p:nvSpPr>
          <p:cNvPr id="98" name="Téglalap 97"/>
          <p:cNvSpPr/>
          <p:nvPr/>
        </p:nvSpPr>
        <p:spPr bwMode="gray">
          <a:xfrm>
            <a:off x="5046663" y="2411413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3</a:t>
            </a:r>
          </a:p>
        </p:txBody>
      </p:sp>
      <p:sp>
        <p:nvSpPr>
          <p:cNvPr id="99" name="Téglalap 98"/>
          <p:cNvSpPr/>
          <p:nvPr/>
        </p:nvSpPr>
        <p:spPr bwMode="gray">
          <a:xfrm>
            <a:off x="3771900" y="2249488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8</a:t>
            </a:r>
          </a:p>
        </p:txBody>
      </p:sp>
      <p:sp>
        <p:nvSpPr>
          <p:cNvPr id="100" name="Téglalap 99"/>
          <p:cNvSpPr/>
          <p:nvPr/>
        </p:nvSpPr>
        <p:spPr bwMode="gray">
          <a:xfrm>
            <a:off x="4059238" y="2182813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3</a:t>
            </a:r>
          </a:p>
        </p:txBody>
      </p:sp>
      <p:sp>
        <p:nvSpPr>
          <p:cNvPr id="101" name="Téglalap 100"/>
          <p:cNvSpPr/>
          <p:nvPr/>
        </p:nvSpPr>
        <p:spPr bwMode="gray">
          <a:xfrm>
            <a:off x="4006850" y="3602038"/>
            <a:ext cx="638175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7</a:t>
            </a:r>
          </a:p>
        </p:txBody>
      </p:sp>
      <p:sp>
        <p:nvSpPr>
          <p:cNvPr id="102" name="Téglalap 101"/>
          <p:cNvSpPr/>
          <p:nvPr/>
        </p:nvSpPr>
        <p:spPr bwMode="gray">
          <a:xfrm>
            <a:off x="4295775" y="3392488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2</a:t>
            </a:r>
          </a:p>
        </p:txBody>
      </p:sp>
      <p:sp>
        <p:nvSpPr>
          <p:cNvPr id="103" name="Téglalap 102"/>
          <p:cNvSpPr/>
          <p:nvPr/>
        </p:nvSpPr>
        <p:spPr bwMode="gray">
          <a:xfrm>
            <a:off x="3441700" y="3228975"/>
            <a:ext cx="6397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4</a:t>
            </a:r>
          </a:p>
        </p:txBody>
      </p:sp>
      <p:sp>
        <p:nvSpPr>
          <p:cNvPr id="104" name="Téglalap 103"/>
          <p:cNvSpPr/>
          <p:nvPr/>
        </p:nvSpPr>
        <p:spPr bwMode="gray">
          <a:xfrm>
            <a:off x="3740150" y="2974975"/>
            <a:ext cx="6381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26</a:t>
            </a:r>
          </a:p>
        </p:txBody>
      </p:sp>
      <p:sp>
        <p:nvSpPr>
          <p:cNvPr id="105" name="Téglalap 104"/>
          <p:cNvSpPr/>
          <p:nvPr/>
        </p:nvSpPr>
        <p:spPr bwMode="gray">
          <a:xfrm>
            <a:off x="2282825" y="3074988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3</a:t>
            </a:r>
          </a:p>
        </p:txBody>
      </p:sp>
      <p:sp>
        <p:nvSpPr>
          <p:cNvPr id="106" name="Téglalap 105"/>
          <p:cNvSpPr/>
          <p:nvPr/>
        </p:nvSpPr>
        <p:spPr bwMode="gray">
          <a:xfrm>
            <a:off x="2559050" y="3054350"/>
            <a:ext cx="6381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6</a:t>
            </a:r>
          </a:p>
        </p:txBody>
      </p:sp>
      <p:sp>
        <p:nvSpPr>
          <p:cNvPr id="127" name="Téglalap 126"/>
          <p:cNvSpPr/>
          <p:nvPr/>
        </p:nvSpPr>
        <p:spPr bwMode="gray">
          <a:xfrm>
            <a:off x="2747963" y="4051300"/>
            <a:ext cx="6397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5</a:t>
            </a:r>
          </a:p>
        </p:txBody>
      </p:sp>
      <p:sp>
        <p:nvSpPr>
          <p:cNvPr id="128" name="Téglalap 127"/>
          <p:cNvSpPr/>
          <p:nvPr/>
        </p:nvSpPr>
        <p:spPr bwMode="gray">
          <a:xfrm>
            <a:off x="3121025" y="3983038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0</a:t>
            </a:r>
          </a:p>
        </p:txBody>
      </p:sp>
      <p:sp>
        <p:nvSpPr>
          <p:cNvPr id="129" name="Téglalap 128"/>
          <p:cNvSpPr/>
          <p:nvPr/>
        </p:nvSpPr>
        <p:spPr bwMode="gray">
          <a:xfrm>
            <a:off x="2376488" y="6084888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6</a:t>
            </a:r>
          </a:p>
        </p:txBody>
      </p:sp>
      <p:sp>
        <p:nvSpPr>
          <p:cNvPr id="130" name="Téglalap 129"/>
          <p:cNvSpPr/>
          <p:nvPr/>
        </p:nvSpPr>
        <p:spPr bwMode="gray">
          <a:xfrm>
            <a:off x="2690813" y="6084888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6</a:t>
            </a:r>
          </a:p>
        </p:txBody>
      </p:sp>
      <p:sp>
        <p:nvSpPr>
          <p:cNvPr id="131" name="Téglalap 130"/>
          <p:cNvSpPr/>
          <p:nvPr/>
        </p:nvSpPr>
        <p:spPr bwMode="gray">
          <a:xfrm>
            <a:off x="2857500" y="5156200"/>
            <a:ext cx="6381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5</a:t>
            </a:r>
          </a:p>
        </p:txBody>
      </p:sp>
      <p:sp>
        <p:nvSpPr>
          <p:cNvPr id="132" name="Téglalap 131"/>
          <p:cNvSpPr/>
          <p:nvPr/>
        </p:nvSpPr>
        <p:spPr bwMode="gray">
          <a:xfrm>
            <a:off x="3170238" y="5140325"/>
            <a:ext cx="639762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8</a:t>
            </a:r>
          </a:p>
        </p:txBody>
      </p:sp>
      <p:sp>
        <p:nvSpPr>
          <p:cNvPr id="133" name="Téglalap 132"/>
          <p:cNvSpPr/>
          <p:nvPr/>
        </p:nvSpPr>
        <p:spPr bwMode="gray">
          <a:xfrm>
            <a:off x="1728788" y="5373688"/>
            <a:ext cx="639762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1</a:t>
            </a:r>
          </a:p>
        </p:txBody>
      </p:sp>
      <p:sp>
        <p:nvSpPr>
          <p:cNvPr id="134" name="Téglalap 133"/>
          <p:cNvSpPr/>
          <p:nvPr/>
        </p:nvSpPr>
        <p:spPr bwMode="gray">
          <a:xfrm>
            <a:off x="2028825" y="5316538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5</a:t>
            </a:r>
          </a:p>
        </p:txBody>
      </p:sp>
      <p:sp>
        <p:nvSpPr>
          <p:cNvPr id="135" name="Téglalap 134"/>
          <p:cNvSpPr/>
          <p:nvPr/>
        </p:nvSpPr>
        <p:spPr bwMode="gray">
          <a:xfrm>
            <a:off x="727075" y="5194300"/>
            <a:ext cx="6381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5</a:t>
            </a:r>
          </a:p>
        </p:txBody>
      </p:sp>
      <p:sp>
        <p:nvSpPr>
          <p:cNvPr id="136" name="Téglalap 135"/>
          <p:cNvSpPr/>
          <p:nvPr/>
        </p:nvSpPr>
        <p:spPr bwMode="gray">
          <a:xfrm>
            <a:off x="1001713" y="5159375"/>
            <a:ext cx="6397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10</a:t>
            </a:r>
          </a:p>
        </p:txBody>
      </p:sp>
      <p:sp>
        <p:nvSpPr>
          <p:cNvPr id="139" name="Téglalap 138"/>
          <p:cNvSpPr/>
          <p:nvPr/>
        </p:nvSpPr>
        <p:spPr bwMode="gray">
          <a:xfrm>
            <a:off x="1604963" y="4235450"/>
            <a:ext cx="6397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5</a:t>
            </a:r>
          </a:p>
        </p:txBody>
      </p:sp>
      <p:sp>
        <p:nvSpPr>
          <p:cNvPr id="140" name="Téglalap 139"/>
          <p:cNvSpPr/>
          <p:nvPr/>
        </p:nvSpPr>
        <p:spPr bwMode="gray">
          <a:xfrm>
            <a:off x="1909763" y="4200525"/>
            <a:ext cx="6381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7</a:t>
            </a:r>
          </a:p>
        </p:txBody>
      </p:sp>
      <p:sp>
        <p:nvSpPr>
          <p:cNvPr id="141" name="Téglalap 140"/>
          <p:cNvSpPr/>
          <p:nvPr/>
        </p:nvSpPr>
        <p:spPr bwMode="gray">
          <a:xfrm>
            <a:off x="481013" y="4254500"/>
            <a:ext cx="6397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2</a:t>
            </a:r>
          </a:p>
        </p:txBody>
      </p:sp>
      <p:sp>
        <p:nvSpPr>
          <p:cNvPr id="142" name="Téglalap 141"/>
          <p:cNvSpPr/>
          <p:nvPr/>
        </p:nvSpPr>
        <p:spPr bwMode="gray">
          <a:xfrm>
            <a:off x="771525" y="4221163"/>
            <a:ext cx="6397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4</a:t>
            </a:r>
          </a:p>
        </p:txBody>
      </p:sp>
      <p:sp>
        <p:nvSpPr>
          <p:cNvPr id="143" name="Téglalap 142"/>
          <p:cNvSpPr/>
          <p:nvPr/>
        </p:nvSpPr>
        <p:spPr bwMode="gray">
          <a:xfrm>
            <a:off x="1049338" y="3190875"/>
            <a:ext cx="6397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2</a:t>
            </a:r>
          </a:p>
        </p:txBody>
      </p:sp>
      <p:sp>
        <p:nvSpPr>
          <p:cNvPr id="144" name="Téglalap 143"/>
          <p:cNvSpPr/>
          <p:nvPr/>
        </p:nvSpPr>
        <p:spPr bwMode="gray">
          <a:xfrm>
            <a:off x="1339850" y="3157538"/>
            <a:ext cx="638175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algn="ctr" eaLnBrk="1" hangingPunct="1">
              <a:defRPr/>
            </a:pPr>
            <a:r>
              <a:rPr lang="hu-HU" sz="900" b="1" dirty="0">
                <a:solidFill>
                  <a:schemeClr val="bg1"/>
                </a:solidFill>
                <a:latin typeface="+mj-lt"/>
                <a:cs typeface="Arial" charset="0"/>
              </a:rPr>
              <a:t>4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</a:rPr>
              <a:t>EMPLOYMENT CHALANGES</a:t>
            </a:r>
            <a:endParaRPr lang="en-US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6" name="Tartalom helye 3"/>
          <p:cNvSpPr txBox="1">
            <a:spLocks/>
          </p:cNvSpPr>
          <p:nvPr/>
        </p:nvSpPr>
        <p:spPr>
          <a:xfrm>
            <a:off x="908050" y="25732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r>
              <a:rPr lang="en-US" sz="2400" dirty="0"/>
              <a:t>Competition for labor force among </a:t>
            </a:r>
            <a:r>
              <a:rPr lang="en-US" sz="2400" dirty="0" smtClean="0"/>
              <a:t>employers</a:t>
            </a:r>
            <a:endParaRPr lang="hu-HU" sz="2400" dirty="0" smtClean="0"/>
          </a:p>
          <a:p>
            <a:pPr algn="just" eaLnBrk="1" hangingPunct="1"/>
            <a:endParaRPr lang="hu-HU" sz="1100" dirty="0" smtClean="0"/>
          </a:p>
          <a:p>
            <a:pPr algn="just" eaLnBrk="1" hangingPunct="1"/>
            <a:r>
              <a:rPr lang="en-US" sz="2400" dirty="0"/>
              <a:t>Number of employers struggling with </a:t>
            </a:r>
            <a:r>
              <a:rPr lang="en-US" sz="2400" dirty="0" err="1"/>
              <a:t>labour</a:t>
            </a:r>
            <a:r>
              <a:rPr lang="en-US" sz="2400" dirty="0"/>
              <a:t> force problems is on the </a:t>
            </a:r>
            <a:r>
              <a:rPr lang="en-US" sz="2400" dirty="0" smtClean="0"/>
              <a:t>increase</a:t>
            </a:r>
            <a:endParaRPr lang="hu-HU" sz="2400" dirty="0" smtClean="0"/>
          </a:p>
          <a:p>
            <a:pPr algn="just" eaLnBrk="1" hangingPunct="1"/>
            <a:endParaRPr lang="hu-HU" sz="1200" dirty="0" smtClean="0"/>
          </a:p>
          <a:p>
            <a:pPr algn="just" eaLnBrk="1" hangingPunct="1"/>
            <a:r>
              <a:rPr lang="en-US" sz="2400" dirty="0"/>
              <a:t>Labor supply and labor demand </a:t>
            </a:r>
            <a:r>
              <a:rPr lang="en-US" sz="2400" dirty="0" smtClean="0"/>
              <a:t>coexist</a:t>
            </a:r>
            <a:endParaRPr lang="hu-HU" sz="2400" dirty="0" smtClean="0"/>
          </a:p>
          <a:p>
            <a:pPr algn="just" eaLnBrk="1" hangingPunct="1"/>
            <a:endParaRPr lang="hu-HU" sz="1200" dirty="0" smtClean="0"/>
          </a:p>
          <a:p>
            <a:pPr algn="just" eaLnBrk="1" hangingPunct="1"/>
            <a:r>
              <a:rPr lang="en-US" sz="2400" dirty="0"/>
              <a:t>Demand for unskilled </a:t>
            </a:r>
            <a:r>
              <a:rPr lang="en-US" sz="2400" dirty="0" err="1"/>
              <a:t>labour</a:t>
            </a:r>
            <a:r>
              <a:rPr lang="en-US" sz="2400" dirty="0"/>
              <a:t> </a:t>
            </a:r>
            <a:r>
              <a:rPr lang="en-US" sz="2400" dirty="0" smtClean="0"/>
              <a:t>too</a:t>
            </a:r>
            <a:endParaRPr lang="hu-HU" sz="2400" dirty="0" smtClean="0"/>
          </a:p>
          <a:p>
            <a:pPr algn="just" eaLnBrk="1" hangingPunct="1"/>
            <a:endParaRPr lang="hu-HU" sz="1200" dirty="0"/>
          </a:p>
          <a:p>
            <a:pPr algn="just" eaLnBrk="1" hangingPunct="1"/>
            <a:r>
              <a:rPr lang="en-US" sz="2400" dirty="0"/>
              <a:t>Quality level of </a:t>
            </a:r>
            <a:r>
              <a:rPr lang="en-US" sz="2400" dirty="0" err="1"/>
              <a:t>labour</a:t>
            </a:r>
            <a:r>
              <a:rPr lang="en-US" sz="2400" dirty="0"/>
              <a:t> supply worsens </a:t>
            </a:r>
            <a:endParaRPr lang="hu-HU" sz="2400" dirty="0" smtClean="0"/>
          </a:p>
          <a:p>
            <a:pPr algn="just" eaLnBrk="1" hangingPunct="1"/>
            <a:endParaRPr lang="hu-HU" sz="1200" dirty="0" smtClean="0"/>
          </a:p>
          <a:p>
            <a:pPr algn="just" eaLnBrk="1" hangingPunct="1"/>
            <a:r>
              <a:rPr lang="en-US" sz="2400" dirty="0"/>
              <a:t>Main challenge is making LM more flexible</a:t>
            </a:r>
            <a:endParaRPr lang="hu-HU" sz="2400" dirty="0"/>
          </a:p>
          <a:p>
            <a:pPr algn="just" eaLnBrk="1" hangingPunct="1"/>
            <a:endParaRPr lang="hu-HU" sz="2400" b="1" dirty="0" smtClean="0"/>
          </a:p>
          <a:p>
            <a:pPr algn="just" eaLnBrk="1" hangingPunct="1"/>
            <a:endParaRPr lang="hu-HU" sz="2400" b="1" dirty="0" smtClean="0"/>
          </a:p>
          <a:p>
            <a:pPr algn="just" eaLnBrk="1" hangingPunct="1"/>
            <a:endParaRPr lang="hu-HU" sz="2400" b="1" dirty="0"/>
          </a:p>
          <a:p>
            <a:pPr algn="just" eaLnBrk="1" hangingPunct="1"/>
            <a:endParaRPr lang="hu-HU" sz="2400" dirty="0"/>
          </a:p>
          <a:p>
            <a:pPr algn="just" eaLnBrk="1" hangingPunct="1"/>
            <a:endParaRPr lang="hu-HU" sz="2400" dirty="0" smtClean="0"/>
          </a:p>
          <a:p>
            <a:pPr marL="0" indent="0" algn="just" eaLnBrk="1" hangingPunct="1">
              <a:buNone/>
            </a:pP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1891812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/>
          <a:lstStyle/>
          <a:p>
            <a:r>
              <a:rPr lang="hu-HU" sz="3200" b="1" dirty="0" smtClean="0">
                <a:solidFill>
                  <a:schemeClr val="accent2">
                    <a:lumMod val="50000"/>
                  </a:schemeClr>
                </a:solidFill>
              </a:rPr>
              <a:t>ANSWERS</a:t>
            </a:r>
            <a:endParaRPr lang="en-US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artalom helye 3"/>
          <p:cNvSpPr txBox="1">
            <a:spLocks/>
          </p:cNvSpPr>
          <p:nvPr/>
        </p:nvSpPr>
        <p:spPr>
          <a:xfrm>
            <a:off x="755650" y="24208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6" name="Tartalom helye 3"/>
          <p:cNvSpPr txBox="1">
            <a:spLocks/>
          </p:cNvSpPr>
          <p:nvPr/>
        </p:nvSpPr>
        <p:spPr>
          <a:xfrm>
            <a:off x="908050" y="2573288"/>
            <a:ext cx="7921625" cy="37449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altLang="hu-HU" sz="2200" dirty="0" smtClean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785813" y="2133600"/>
            <a:ext cx="7572375" cy="4152900"/>
          </a:xfrm>
          <a:prstGeom prst="rect">
            <a:avLst/>
          </a:prstGeom>
          <a:ln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en-US" sz="2400" dirty="0" smtClean="0"/>
              <a:t>New employment regulation system is underway</a:t>
            </a:r>
          </a:p>
          <a:p>
            <a:pPr algn="just" eaLnBrk="1" hangingPunct="1">
              <a:lnSpc>
                <a:spcPct val="150000"/>
              </a:lnSpc>
            </a:pPr>
            <a:r>
              <a:rPr lang="en-US" sz="2400" dirty="0" smtClean="0"/>
              <a:t>More efficient public employment </a:t>
            </a:r>
            <a:r>
              <a:rPr lang="en-US" sz="2400" dirty="0" err="1" smtClean="0"/>
              <a:t>programmes</a:t>
            </a:r>
            <a:endParaRPr lang="en-US" sz="2400" dirty="0" smtClean="0"/>
          </a:p>
          <a:p>
            <a:pPr algn="just" eaLnBrk="1" hangingPunct="1">
              <a:lnSpc>
                <a:spcPct val="150000"/>
              </a:lnSpc>
            </a:pPr>
            <a:r>
              <a:rPr lang="en-US" sz="2400" dirty="0" smtClean="0"/>
              <a:t>Promoting labor mobility</a:t>
            </a:r>
          </a:p>
          <a:p>
            <a:pPr algn="just" eaLnBrk="1" hangingPunct="1">
              <a:lnSpc>
                <a:spcPct val="150000"/>
              </a:lnSpc>
            </a:pPr>
            <a:r>
              <a:rPr lang="en-US" sz="2400" dirty="0" smtClean="0"/>
              <a:t>Job creation support reshape</a:t>
            </a:r>
          </a:p>
          <a:p>
            <a:pPr algn="just" eaLnBrk="1" hangingPunct="1">
              <a:lnSpc>
                <a:spcPct val="150000"/>
              </a:lnSpc>
            </a:pPr>
            <a:r>
              <a:rPr lang="en-US" sz="2400" dirty="0" smtClean="0"/>
              <a:t>Introducing youth employment </a:t>
            </a:r>
            <a:r>
              <a:rPr lang="en-US" sz="2400" dirty="0" err="1" smtClean="0"/>
              <a:t>programmes</a:t>
            </a:r>
            <a:endParaRPr lang="en-US" sz="2400" dirty="0" smtClean="0"/>
          </a:p>
          <a:p>
            <a:pPr algn="just" eaLnBrk="1" hangingPunct="1">
              <a:lnSpc>
                <a:spcPct val="150000"/>
              </a:lnSpc>
            </a:pPr>
            <a:r>
              <a:rPr lang="en-US" sz="2400" dirty="0" smtClean="0"/>
              <a:t>Modernizing vocational training system</a:t>
            </a:r>
          </a:p>
          <a:p>
            <a:pPr algn="just" eaLnBrk="1" hangingPunct="1"/>
            <a:endParaRPr lang="en-US" sz="2400" b="1" dirty="0" smtClean="0"/>
          </a:p>
          <a:p>
            <a:pPr algn="just" eaLnBrk="1" hangingPunct="1"/>
            <a:endParaRPr lang="en-US" sz="2400" b="1" dirty="0" smtClean="0"/>
          </a:p>
          <a:p>
            <a:pPr algn="just" eaLnBrk="1" hangingPunct="1"/>
            <a:endParaRPr lang="en-US" sz="2400" b="1" dirty="0" smtClean="0"/>
          </a:p>
          <a:p>
            <a:pPr algn="just" eaLnBrk="1" hangingPunct="1"/>
            <a:endParaRPr lang="en-US" sz="2400" dirty="0" smtClean="0"/>
          </a:p>
          <a:p>
            <a:pPr algn="just" eaLnBrk="1" hangingPunct="1"/>
            <a:endParaRPr lang="en-US" sz="2400" dirty="0" smtClean="0"/>
          </a:p>
          <a:p>
            <a:pPr marL="0" indent="0" algn="just" eaLnBrk="1" hangingPunct="1">
              <a:buNone/>
            </a:pPr>
            <a:endParaRPr lang="en-US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973088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W.RBCbTZ6oBgv7uH7H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whewGTXyKAlbo0ZFl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2z1y1iSPC.R9bGsHS1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QEcbt5RyykRhlrAzVY.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loldala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52DD40B89C3E0F4FB989128CDE36202B" ma:contentTypeVersion="1" ma:contentTypeDescription="Új dokumentum létrehozása." ma:contentTypeScope="" ma:versionID="95a0be1bde5bcac7b8e838c3c174a5c4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fcf23b54e4122e205c5b11a5a9911572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Kezdés dátumának ütemezés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Befejezés dátumának ütemezés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 ma:readOnly="true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4457AE9D-12A9-463B-8456-209ACD357559}">
  <ds:schemaRefs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sharepoint/v3"/>
    <ds:schemaRef ds:uri="http://schemas.openxmlformats.org/package/2006/metadata/core-properties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147FCED-FAF0-4A21-A65C-3D83479A6C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D898CC-37ED-4B62-A237-238B77A936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97</TotalTime>
  <Words>1893</Words>
  <Application>Microsoft Office PowerPoint</Application>
  <PresentationFormat>Diavetítés a képernyőre (4:3 oldalarány)</PresentationFormat>
  <Paragraphs>226</Paragraphs>
  <Slides>31</Slides>
  <Notes>0</Notes>
  <HiddenSlides>6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1</vt:i4>
      </vt:variant>
    </vt:vector>
  </HeadingPairs>
  <TitlesOfParts>
    <vt:vector size="34" baseType="lpstr">
      <vt:lpstr>Office Theme</vt:lpstr>
      <vt:lpstr>Beloldalak</vt:lpstr>
      <vt:lpstr>think-cell Slide</vt:lpstr>
      <vt:lpstr>CPESSEC Managers’ meeting 8th of November 2017</vt:lpstr>
      <vt:lpstr>Strategic performance management in the Hungarian PES (NFSZ)</vt:lpstr>
      <vt:lpstr>PowerPoint bemutató</vt:lpstr>
      <vt:lpstr>PowerPoint bemutató</vt:lpstr>
      <vt:lpstr>PowerPoint bemutató</vt:lpstr>
      <vt:lpstr>PowerPoint bemutató</vt:lpstr>
      <vt:lpstr>Regional imbalance between the supply and demand sides</vt:lpstr>
      <vt:lpstr>EMPLOYMENT CHALANGES</vt:lpstr>
      <vt:lpstr>ANSWERS</vt:lpstr>
      <vt:lpstr>Strategic performance management in the Hungarian PES (NFSZ)</vt:lpstr>
      <vt:lpstr>Design of operational processes…</vt:lpstr>
      <vt:lpstr>Design of operational processes…</vt:lpstr>
      <vt:lpstr>Design of operational processes…</vt:lpstr>
      <vt:lpstr>Sustainable activation and management of transitions</vt:lpstr>
      <vt:lpstr>Sustainable activation and management of transitions</vt:lpstr>
      <vt:lpstr>Sustainable activation and management of transitions</vt:lpstr>
      <vt:lpstr>Relations to employers</vt:lpstr>
      <vt:lpstr>Relations to employers</vt:lpstr>
      <vt:lpstr>Evidence-based design and implementation of PES services</vt:lpstr>
      <vt:lpstr>Evidence-based design and implementation of PES services</vt:lpstr>
      <vt:lpstr>Effective management of partnerships with stakeholders</vt:lpstr>
      <vt:lpstr>Effective management of partnerships with stakeholders</vt:lpstr>
      <vt:lpstr>Allocation of PES resources (both human and financial)</vt:lpstr>
      <vt:lpstr>Allocation of PES resources (both human and financial)</vt:lpstr>
      <vt:lpstr>THANK YOU FOR YOU KIND ATTENTION!</vt:lpstr>
      <vt:lpstr>ABBREVIATIONS</vt:lpstr>
      <vt:lpstr>PowerPoint bemutató</vt:lpstr>
      <vt:lpstr>NATIONAL REFORM PROGRAMME 2017 OF HUNGARY </vt:lpstr>
      <vt:lpstr>In addition to the increase of employment the economy still has labour shortages </vt:lpstr>
      <vt:lpstr>Ongoing PES developments </vt:lpstr>
      <vt:lpstr>Agenda for ÁFSZ 2017 and beyond 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ori</dc:creator>
  <cp:lastModifiedBy>Kövi László</cp:lastModifiedBy>
  <cp:revision>114</cp:revision>
  <cp:lastPrinted>2017-11-07T17:23:18Z</cp:lastPrinted>
  <dcterms:created xsi:type="dcterms:W3CDTF">2010-06-15T13:49:13Z</dcterms:created>
  <dcterms:modified xsi:type="dcterms:W3CDTF">2017-11-07T18:13:43Z</dcterms:modified>
</cp:coreProperties>
</file>